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wmf" ContentType="image/x-wmf"/>
  <Default Extension="xls" ContentType="application/vnd.ms-excel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  <p:sldMasterId id="2147483838" r:id="rId2"/>
  </p:sldMasterIdLst>
  <p:notesMasterIdLst>
    <p:notesMasterId r:id="rId13"/>
  </p:notesMasterIdLst>
  <p:handoutMasterIdLst>
    <p:handoutMasterId r:id="rId14"/>
  </p:handoutMasterIdLst>
  <p:sldIdLst>
    <p:sldId id="258" r:id="rId3"/>
    <p:sldId id="431" r:id="rId4"/>
    <p:sldId id="434" r:id="rId5"/>
    <p:sldId id="435" r:id="rId6"/>
    <p:sldId id="436" r:id="rId7"/>
    <p:sldId id="437" r:id="rId8"/>
    <p:sldId id="438" r:id="rId9"/>
    <p:sldId id="439" r:id="rId10"/>
    <p:sldId id="440" r:id="rId11"/>
    <p:sldId id="442" r:id="rId12"/>
  </p:sldIdLst>
  <p:sldSz cx="12192000" cy="6858000"/>
  <p:notesSz cx="6858000" cy="9144000"/>
  <p:custDataLst>
    <p:tags r:id="rId15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2980"/>
    <a:srgbClr val="95E616"/>
    <a:srgbClr val="C8FF16"/>
    <a:srgbClr val="FF7E83"/>
    <a:srgbClr val="FF304C"/>
    <a:srgbClr val="4701A7"/>
    <a:srgbClr val="FF6327"/>
    <a:srgbClr val="6D64CC"/>
    <a:srgbClr val="88D5ED"/>
    <a:srgbClr val="01D1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6120" autoAdjust="0"/>
  </p:normalViewPr>
  <p:slideViewPr>
    <p:cSldViewPr>
      <p:cViewPr varScale="1">
        <p:scale>
          <a:sx n="92" d="100"/>
          <a:sy n="92" d="100"/>
        </p:scale>
        <p:origin x="66" y="90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2548" y="76"/>
      </p:cViewPr>
      <p:guideLst/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598825314517712E-2"/>
          <c:y val="0.20329044117647058"/>
          <c:w val="0.94491392258217732"/>
          <c:h val="0.5183323844626924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ximum Mark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zure</c:v>
                </c:pt>
                <c:pt idx="1">
                  <c:v>Python</c:v>
                </c:pt>
                <c:pt idx="2">
                  <c:v>Powershell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80</c:v>
                </c:pt>
                <c:pt idx="1">
                  <c:v>270</c:v>
                </c:pt>
                <c:pt idx="2">
                  <c:v>39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A36-4308-B95F-5A19A5C8C42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arks Obtaine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zure</c:v>
                </c:pt>
                <c:pt idx="1">
                  <c:v>Python</c:v>
                </c:pt>
                <c:pt idx="2">
                  <c:v>Powershell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68</c:v>
                </c:pt>
                <c:pt idx="1">
                  <c:v>243</c:v>
                </c:pt>
                <c:pt idx="2">
                  <c:v>3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A36-4308-B95F-5A19A5C8C42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93649984"/>
        <c:axId val="493648896"/>
      </c:barChart>
      <c:catAx>
        <c:axId val="493649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3648896"/>
        <c:crosses val="autoZero"/>
        <c:auto val="1"/>
        <c:lblAlgn val="ctr"/>
        <c:lblOffset val="100"/>
        <c:noMultiLvlLbl val="0"/>
      </c:catAx>
      <c:valAx>
        <c:axId val="4936488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3649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598825314517712E-2"/>
          <c:y val="0.20329044117647058"/>
          <c:w val="0.94491392258217732"/>
          <c:h val="0.5183323844626924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et SL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zure</c:v>
                </c:pt>
                <c:pt idx="1">
                  <c:v>Python</c:v>
                </c:pt>
                <c:pt idx="2">
                  <c:v>Powershell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</c:v>
                </c:pt>
                <c:pt idx="1">
                  <c:v>8</c:v>
                </c:pt>
                <c:pt idx="2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A36-4308-B95F-5A19A5C8C42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reached SL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zure</c:v>
                </c:pt>
                <c:pt idx="1">
                  <c:v>Python</c:v>
                </c:pt>
                <c:pt idx="2">
                  <c:v>Powershell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0</c:v>
                </c:pt>
                <c:pt idx="1">
                  <c:v>3</c:v>
                </c:pt>
                <c:pt idx="2">
                  <c:v>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A36-4308-B95F-5A19A5C8C42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93641824"/>
        <c:axId val="493643456"/>
      </c:barChart>
      <c:catAx>
        <c:axId val="493641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3643456"/>
        <c:crosses val="autoZero"/>
        <c:auto val="1"/>
        <c:lblAlgn val="ctr"/>
        <c:lblOffset val="100"/>
        <c:noMultiLvlLbl val="0"/>
      </c:catAx>
      <c:valAx>
        <c:axId val="4936434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3641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image" Target="../media/image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1000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1000" smtClean="0"/>
              <a:pPr/>
              <a:t>06/02/2020</a:t>
            </a:fld>
            <a:endParaRPr lang="pt-PT" sz="100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1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1000" smtClean="0"/>
              <a:pPr/>
              <a:t>‹#›</a:t>
            </a:fld>
            <a:endParaRPr lang="pt-PT" sz="10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0835B8F7-DAC4-4931-8AED-4356A8B2FD64}" type="datetimeFigureOut">
              <a:rPr lang="pt-BR" smtClean="0"/>
              <a:pPr/>
              <a:t>06/02/2020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 </a:t>
            </a: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pt-BR" dirty="0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None/>
      <a:defRPr sz="1000" kern="1200" baseline="0">
        <a:solidFill>
          <a:schemeClr val="tx1"/>
        </a:solidFill>
        <a:latin typeface="+mn-lt"/>
        <a:ea typeface="+mn-ea"/>
        <a:cs typeface="+mn-cs"/>
      </a:defRPr>
    </a:lvl1pPr>
    <a:lvl2pPr marL="4572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144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3716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8288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306305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696B5C-12A0-4042-B4D0-BD3B9A4F58C6}" type="slidenum">
              <a:rPr kumimoji="0" lang="pt-BR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BR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92823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316724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60837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308960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34720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000400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04001" y="5904000"/>
            <a:ext cx="3720000" cy="57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8370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=""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0405285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orient="horz" pos="93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=""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=""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=""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17165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 dirty="0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=""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Prof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853" name="Freeform 5"/>
          <p:cNvSpPr>
            <a:spLocks/>
          </p:cNvSpPr>
          <p:nvPr userDrawn="1"/>
        </p:nvSpPr>
        <p:spPr bwMode="auto">
          <a:xfrm>
            <a:off x="0" y="0"/>
            <a:ext cx="6884760" cy="6403070"/>
          </a:xfrm>
          <a:custGeom>
            <a:avLst/>
            <a:gdLst/>
            <a:ahLst/>
            <a:cxnLst>
              <a:cxn ang="0">
                <a:pos x="0" y="1449"/>
              </a:cxn>
              <a:cxn ang="0">
                <a:pos x="0" y="0"/>
              </a:cxn>
              <a:cxn ang="0">
                <a:pos x="2215" y="0"/>
              </a:cxn>
              <a:cxn ang="0">
                <a:pos x="2229" y="14"/>
              </a:cxn>
              <a:cxn ang="0">
                <a:pos x="2486" y="284"/>
              </a:cxn>
              <a:cxn ang="0">
                <a:pos x="2694" y="575"/>
              </a:cxn>
              <a:cxn ang="0">
                <a:pos x="2806" y="855"/>
              </a:cxn>
              <a:cxn ang="0">
                <a:pos x="2824" y="979"/>
              </a:cxn>
              <a:cxn ang="0">
                <a:pos x="2824" y="1044"/>
              </a:cxn>
              <a:cxn ang="0">
                <a:pos x="2822" y="1069"/>
              </a:cxn>
              <a:cxn ang="0">
                <a:pos x="2816" y="1118"/>
              </a:cxn>
              <a:cxn ang="0">
                <a:pos x="2733" y="1340"/>
              </a:cxn>
              <a:cxn ang="0">
                <a:pos x="2652" y="1454"/>
              </a:cxn>
              <a:cxn ang="0">
                <a:pos x="2441" y="1652"/>
              </a:cxn>
              <a:cxn ang="0">
                <a:pos x="2098" y="1873"/>
              </a:cxn>
              <a:cxn ang="0">
                <a:pos x="1711" y="2073"/>
              </a:cxn>
              <a:cxn ang="0">
                <a:pos x="1382" y="2243"/>
              </a:cxn>
              <a:cxn ang="0">
                <a:pos x="1159" y="2392"/>
              </a:cxn>
              <a:cxn ang="0">
                <a:pos x="1101" y="2445"/>
              </a:cxn>
              <a:cxn ang="0">
                <a:pos x="1018" y="2588"/>
              </a:cxn>
              <a:cxn ang="0">
                <a:pos x="1011" y="2595"/>
              </a:cxn>
              <a:cxn ang="0">
                <a:pos x="983" y="2603"/>
              </a:cxn>
              <a:cxn ang="0">
                <a:pos x="878" y="2622"/>
              </a:cxn>
              <a:cxn ang="0">
                <a:pos x="863" y="2626"/>
              </a:cxn>
              <a:cxn ang="0">
                <a:pos x="783" y="2626"/>
              </a:cxn>
              <a:cxn ang="0">
                <a:pos x="769" y="2624"/>
              </a:cxn>
              <a:cxn ang="0">
                <a:pos x="711" y="2616"/>
              </a:cxn>
              <a:cxn ang="0">
                <a:pos x="445" y="2480"/>
              </a:cxn>
              <a:cxn ang="0">
                <a:pos x="299" y="2312"/>
              </a:cxn>
              <a:cxn ang="0">
                <a:pos x="149" y="2020"/>
              </a:cxn>
              <a:cxn ang="0">
                <a:pos x="48" y="1690"/>
              </a:cxn>
              <a:cxn ang="0">
                <a:pos x="4" y="1458"/>
              </a:cxn>
              <a:cxn ang="0">
                <a:pos x="0" y="1449"/>
              </a:cxn>
            </a:cxnLst>
            <a:rect l="0" t="0" r="r" b="b"/>
            <a:pathLst>
              <a:path w="2824" h="2626">
                <a:moveTo>
                  <a:pt x="0" y="1449"/>
                </a:moveTo>
                <a:cubicBezTo>
                  <a:pt x="0" y="966"/>
                  <a:pt x="0" y="483"/>
                  <a:pt x="0" y="0"/>
                </a:cubicBezTo>
                <a:cubicBezTo>
                  <a:pt x="738" y="0"/>
                  <a:pt x="1477" y="0"/>
                  <a:pt x="2215" y="0"/>
                </a:cubicBezTo>
                <a:cubicBezTo>
                  <a:pt x="2219" y="6"/>
                  <a:pt x="2224" y="9"/>
                  <a:pt x="2229" y="14"/>
                </a:cubicBezTo>
                <a:cubicBezTo>
                  <a:pt x="2319" y="100"/>
                  <a:pt x="2407" y="188"/>
                  <a:pt x="2486" y="284"/>
                </a:cubicBezTo>
                <a:cubicBezTo>
                  <a:pt x="2563" y="375"/>
                  <a:pt x="2635" y="471"/>
                  <a:pt x="2694" y="575"/>
                </a:cubicBezTo>
                <a:cubicBezTo>
                  <a:pt x="2744" y="663"/>
                  <a:pt x="2784" y="756"/>
                  <a:pt x="2806" y="855"/>
                </a:cubicBezTo>
                <a:cubicBezTo>
                  <a:pt x="2816" y="896"/>
                  <a:pt x="2821" y="937"/>
                  <a:pt x="2824" y="979"/>
                </a:cubicBezTo>
                <a:cubicBezTo>
                  <a:pt x="2824" y="1001"/>
                  <a:pt x="2824" y="1022"/>
                  <a:pt x="2824" y="1044"/>
                </a:cubicBezTo>
                <a:cubicBezTo>
                  <a:pt x="2824" y="1052"/>
                  <a:pt x="2820" y="1060"/>
                  <a:pt x="2822" y="1069"/>
                </a:cubicBezTo>
                <a:cubicBezTo>
                  <a:pt x="2821" y="1085"/>
                  <a:pt x="2819" y="1102"/>
                  <a:pt x="2816" y="1118"/>
                </a:cubicBezTo>
                <a:cubicBezTo>
                  <a:pt x="2802" y="1197"/>
                  <a:pt x="2773" y="1271"/>
                  <a:pt x="2733" y="1340"/>
                </a:cubicBezTo>
                <a:cubicBezTo>
                  <a:pt x="2709" y="1381"/>
                  <a:pt x="2682" y="1418"/>
                  <a:pt x="2652" y="1454"/>
                </a:cubicBezTo>
                <a:cubicBezTo>
                  <a:pt x="2590" y="1529"/>
                  <a:pt x="2518" y="1593"/>
                  <a:pt x="2441" y="1652"/>
                </a:cubicBezTo>
                <a:cubicBezTo>
                  <a:pt x="2333" y="1735"/>
                  <a:pt x="2217" y="1806"/>
                  <a:pt x="2098" y="1873"/>
                </a:cubicBezTo>
                <a:cubicBezTo>
                  <a:pt x="1972" y="1944"/>
                  <a:pt x="1841" y="2008"/>
                  <a:pt x="1711" y="2073"/>
                </a:cubicBezTo>
                <a:cubicBezTo>
                  <a:pt x="1600" y="2128"/>
                  <a:pt x="1490" y="2182"/>
                  <a:pt x="1382" y="2243"/>
                </a:cubicBezTo>
                <a:cubicBezTo>
                  <a:pt x="1304" y="2287"/>
                  <a:pt x="1227" y="2333"/>
                  <a:pt x="1159" y="2392"/>
                </a:cubicBezTo>
                <a:cubicBezTo>
                  <a:pt x="1139" y="2409"/>
                  <a:pt x="1119" y="2426"/>
                  <a:pt x="1101" y="2445"/>
                </a:cubicBezTo>
                <a:cubicBezTo>
                  <a:pt x="1062" y="2487"/>
                  <a:pt x="1030" y="2532"/>
                  <a:pt x="1018" y="2588"/>
                </a:cubicBezTo>
                <a:cubicBezTo>
                  <a:pt x="1017" y="2593"/>
                  <a:pt x="1014" y="2594"/>
                  <a:pt x="1011" y="2595"/>
                </a:cubicBezTo>
                <a:cubicBezTo>
                  <a:pt x="1001" y="2598"/>
                  <a:pt x="992" y="2601"/>
                  <a:pt x="983" y="2603"/>
                </a:cubicBezTo>
                <a:cubicBezTo>
                  <a:pt x="948" y="2612"/>
                  <a:pt x="913" y="2618"/>
                  <a:pt x="878" y="2622"/>
                </a:cubicBezTo>
                <a:cubicBezTo>
                  <a:pt x="873" y="2623"/>
                  <a:pt x="867" y="2621"/>
                  <a:pt x="863" y="2626"/>
                </a:cubicBezTo>
                <a:cubicBezTo>
                  <a:pt x="836" y="2626"/>
                  <a:pt x="810" y="2626"/>
                  <a:pt x="783" y="2626"/>
                </a:cubicBezTo>
                <a:cubicBezTo>
                  <a:pt x="778" y="2624"/>
                  <a:pt x="774" y="2624"/>
                  <a:pt x="769" y="2624"/>
                </a:cubicBezTo>
                <a:cubicBezTo>
                  <a:pt x="750" y="2622"/>
                  <a:pt x="730" y="2619"/>
                  <a:pt x="711" y="2616"/>
                </a:cubicBezTo>
                <a:cubicBezTo>
                  <a:pt x="609" y="2596"/>
                  <a:pt x="522" y="2548"/>
                  <a:pt x="445" y="2480"/>
                </a:cubicBezTo>
                <a:cubicBezTo>
                  <a:pt x="388" y="2431"/>
                  <a:pt x="341" y="2373"/>
                  <a:pt x="299" y="2312"/>
                </a:cubicBezTo>
                <a:cubicBezTo>
                  <a:pt x="237" y="2220"/>
                  <a:pt x="190" y="2122"/>
                  <a:pt x="149" y="2020"/>
                </a:cubicBezTo>
                <a:cubicBezTo>
                  <a:pt x="107" y="1913"/>
                  <a:pt x="74" y="1802"/>
                  <a:pt x="48" y="1690"/>
                </a:cubicBezTo>
                <a:cubicBezTo>
                  <a:pt x="30" y="1614"/>
                  <a:pt x="14" y="1536"/>
                  <a:pt x="4" y="1458"/>
                </a:cubicBezTo>
                <a:cubicBezTo>
                  <a:pt x="3" y="1455"/>
                  <a:pt x="3" y="1451"/>
                  <a:pt x="0" y="1449"/>
                </a:cubicBezTo>
                <a:close/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8854" name="Freeform 6"/>
          <p:cNvSpPr>
            <a:spLocks/>
          </p:cNvSpPr>
          <p:nvPr userDrawn="1"/>
        </p:nvSpPr>
        <p:spPr bwMode="auto">
          <a:xfrm>
            <a:off x="10391775" y="2719388"/>
            <a:ext cx="12700" cy="79375"/>
          </a:xfrm>
          <a:custGeom>
            <a:avLst/>
            <a:gdLst/>
            <a:ahLst/>
            <a:cxnLst>
              <a:cxn ang="0">
                <a:pos x="4" y="25"/>
              </a:cxn>
              <a:cxn ang="0">
                <a:pos x="3" y="25"/>
              </a:cxn>
              <a:cxn ang="0">
                <a:pos x="2" y="25"/>
              </a:cxn>
              <a:cxn ang="0">
                <a:pos x="4" y="0"/>
              </a:cxn>
              <a:cxn ang="0">
                <a:pos x="4" y="25"/>
              </a:cxn>
            </a:cxnLst>
            <a:rect l="0" t="0" r="r" b="b"/>
            <a:pathLst>
              <a:path w="4" h="25">
                <a:moveTo>
                  <a:pt x="4" y="25"/>
                </a:moveTo>
                <a:cubicBezTo>
                  <a:pt x="3" y="25"/>
                  <a:pt x="3" y="25"/>
                  <a:pt x="3" y="25"/>
                </a:cubicBezTo>
                <a:cubicBezTo>
                  <a:pt x="2" y="25"/>
                  <a:pt x="2" y="25"/>
                  <a:pt x="2" y="25"/>
                </a:cubicBezTo>
                <a:cubicBezTo>
                  <a:pt x="0" y="16"/>
                  <a:pt x="4" y="8"/>
                  <a:pt x="4" y="0"/>
                </a:cubicBezTo>
                <a:cubicBezTo>
                  <a:pt x="4" y="8"/>
                  <a:pt x="4" y="16"/>
                  <a:pt x="4" y="25"/>
                </a:cubicBezTo>
                <a:close/>
              </a:path>
            </a:pathLst>
          </a:custGeom>
          <a:solidFill>
            <a:srgbClr val="FE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27350" y="0"/>
            <a:ext cx="5061342" cy="17670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6956FD36-565A-4468-BCC4-CB77852669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96200" y="1242019"/>
            <a:ext cx="3597201" cy="52488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16278310-82AA-4E47-A510-E54DC245FB2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96200" y="5495469"/>
            <a:ext cx="3597201" cy="52488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ABF327CC-2917-45F5-82B2-75A9F742E63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896200" y="4644779"/>
            <a:ext cx="3597201" cy="52488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169195DA-4761-45A5-B68F-E20845F04F0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896200" y="3794089"/>
            <a:ext cx="3597201" cy="52488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="" xmlns:a16="http://schemas.microsoft.com/office/drawing/2014/main" id="{343313FC-7C2A-4C39-A322-E5328A14AED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896200" y="2943399"/>
            <a:ext cx="3597201" cy="52488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C9E896F1-84B5-4E7A-BD88-FFAFED8559E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896200" y="2092709"/>
            <a:ext cx="3597201" cy="52488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43"/>
          </p:nvPr>
        </p:nvSpPr>
        <p:spPr>
          <a:xfrm>
            <a:off x="227013" y="1808163"/>
            <a:ext cx="5060950" cy="2511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7246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6"/>
          <p:cNvSpPr>
            <a:spLocks/>
          </p:cNvSpPr>
          <p:nvPr userDrawn="1"/>
        </p:nvSpPr>
        <p:spPr bwMode="auto">
          <a:xfrm>
            <a:off x="-1" y="0"/>
            <a:ext cx="5557037" cy="6499225"/>
          </a:xfrm>
          <a:custGeom>
            <a:avLst/>
            <a:gdLst>
              <a:gd name="connsiteX0" fmla="*/ 9977 w 10000"/>
              <a:gd name="connsiteY0" fmla="*/ 377 h 10000"/>
              <a:gd name="connsiteX1" fmla="*/ 9977 w 10000"/>
              <a:gd name="connsiteY1" fmla="*/ 357 h 10000"/>
              <a:gd name="connsiteX2" fmla="*/ 9989 w 10000"/>
              <a:gd name="connsiteY2" fmla="*/ 338 h 10000"/>
              <a:gd name="connsiteX3" fmla="*/ 9989 w 10000"/>
              <a:gd name="connsiteY3" fmla="*/ 88 h 10000"/>
              <a:gd name="connsiteX4" fmla="*/ 9971 w 10000"/>
              <a:gd name="connsiteY4" fmla="*/ 64 h 10000"/>
              <a:gd name="connsiteX5" fmla="*/ 9971 w 10000"/>
              <a:gd name="connsiteY5" fmla="*/ 20 h 10000"/>
              <a:gd name="connsiteX6" fmla="*/ 9989 w 10000"/>
              <a:gd name="connsiteY6" fmla="*/ 0 h 10000"/>
              <a:gd name="connsiteX7" fmla="*/ 51 w 10000"/>
              <a:gd name="connsiteY7" fmla="*/ 0 h 10000"/>
              <a:gd name="connsiteX8" fmla="*/ 0 w 10000"/>
              <a:gd name="connsiteY8" fmla="*/ 44 h 10000"/>
              <a:gd name="connsiteX9" fmla="*/ 0 w 10000"/>
              <a:gd name="connsiteY9" fmla="*/ 8865 h 10000"/>
              <a:gd name="connsiteX10" fmla="*/ 46 w 10000"/>
              <a:gd name="connsiteY10" fmla="*/ 8865 h 10000"/>
              <a:gd name="connsiteX11" fmla="*/ 91 w 10000"/>
              <a:gd name="connsiteY11" fmla="*/ 8894 h 10000"/>
              <a:gd name="connsiteX12" fmla="*/ 1041 w 10000"/>
              <a:gd name="connsiteY12" fmla="*/ 9437 h 10000"/>
              <a:gd name="connsiteX13" fmla="*/ 2802 w 10000"/>
              <a:gd name="connsiteY13" fmla="*/ 9961 h 10000"/>
              <a:gd name="connsiteX14" fmla="*/ 3985 w 10000"/>
              <a:gd name="connsiteY14" fmla="*/ 9878 h 10000"/>
              <a:gd name="connsiteX15" fmla="*/ 5397 w 10000"/>
              <a:gd name="connsiteY15" fmla="*/ 9090 h 10000"/>
              <a:gd name="connsiteX16" fmla="*/ 5409 w 10000"/>
              <a:gd name="connsiteY16" fmla="*/ 9036 h 10000"/>
              <a:gd name="connsiteX17" fmla="*/ 5363 w 10000"/>
              <a:gd name="connsiteY17" fmla="*/ 8552 h 10000"/>
              <a:gd name="connsiteX18" fmla="*/ 5672 w 10000"/>
              <a:gd name="connsiteY18" fmla="*/ 7681 h 10000"/>
              <a:gd name="connsiteX19" fmla="*/ 6467 w 10000"/>
              <a:gd name="connsiteY19" fmla="*/ 6463 h 10000"/>
              <a:gd name="connsiteX20" fmla="*/ 8067 w 10000"/>
              <a:gd name="connsiteY20" fmla="*/ 4364 h 10000"/>
              <a:gd name="connsiteX21" fmla="*/ 9251 w 10000"/>
              <a:gd name="connsiteY21" fmla="*/ 2578 h 10000"/>
              <a:gd name="connsiteX22" fmla="*/ 9851 w 10000"/>
              <a:gd name="connsiteY22" fmla="*/ 1150 h 10000"/>
              <a:gd name="connsiteX23" fmla="*/ 9943 w 10000"/>
              <a:gd name="connsiteY23" fmla="*/ 714 h 10000"/>
              <a:gd name="connsiteX24" fmla="*/ 9960 w 10000"/>
              <a:gd name="connsiteY24" fmla="*/ 563 h 10000"/>
              <a:gd name="connsiteX25" fmla="*/ 9971 w 10000"/>
              <a:gd name="connsiteY25" fmla="*/ 411 h 10000"/>
              <a:gd name="connsiteX26" fmla="*/ 9977 w 10000"/>
              <a:gd name="connsiteY26" fmla="*/ 377 h 10000"/>
              <a:gd name="connsiteX0" fmla="*/ 9977 w 10000"/>
              <a:gd name="connsiteY0" fmla="*/ 377 h 10000"/>
              <a:gd name="connsiteX1" fmla="*/ 9977 w 10000"/>
              <a:gd name="connsiteY1" fmla="*/ 357 h 10000"/>
              <a:gd name="connsiteX2" fmla="*/ 9989 w 10000"/>
              <a:gd name="connsiteY2" fmla="*/ 88 h 10000"/>
              <a:gd name="connsiteX3" fmla="*/ 9971 w 10000"/>
              <a:gd name="connsiteY3" fmla="*/ 64 h 10000"/>
              <a:gd name="connsiteX4" fmla="*/ 9971 w 10000"/>
              <a:gd name="connsiteY4" fmla="*/ 20 h 10000"/>
              <a:gd name="connsiteX5" fmla="*/ 9989 w 10000"/>
              <a:gd name="connsiteY5" fmla="*/ 0 h 10000"/>
              <a:gd name="connsiteX6" fmla="*/ 51 w 10000"/>
              <a:gd name="connsiteY6" fmla="*/ 0 h 10000"/>
              <a:gd name="connsiteX7" fmla="*/ 0 w 10000"/>
              <a:gd name="connsiteY7" fmla="*/ 44 h 10000"/>
              <a:gd name="connsiteX8" fmla="*/ 0 w 10000"/>
              <a:gd name="connsiteY8" fmla="*/ 8865 h 10000"/>
              <a:gd name="connsiteX9" fmla="*/ 46 w 10000"/>
              <a:gd name="connsiteY9" fmla="*/ 8865 h 10000"/>
              <a:gd name="connsiteX10" fmla="*/ 91 w 10000"/>
              <a:gd name="connsiteY10" fmla="*/ 8894 h 10000"/>
              <a:gd name="connsiteX11" fmla="*/ 1041 w 10000"/>
              <a:gd name="connsiteY11" fmla="*/ 9437 h 10000"/>
              <a:gd name="connsiteX12" fmla="*/ 2802 w 10000"/>
              <a:gd name="connsiteY12" fmla="*/ 9961 h 10000"/>
              <a:gd name="connsiteX13" fmla="*/ 3985 w 10000"/>
              <a:gd name="connsiteY13" fmla="*/ 9878 h 10000"/>
              <a:gd name="connsiteX14" fmla="*/ 5397 w 10000"/>
              <a:gd name="connsiteY14" fmla="*/ 9090 h 10000"/>
              <a:gd name="connsiteX15" fmla="*/ 5409 w 10000"/>
              <a:gd name="connsiteY15" fmla="*/ 9036 h 10000"/>
              <a:gd name="connsiteX16" fmla="*/ 5363 w 10000"/>
              <a:gd name="connsiteY16" fmla="*/ 8552 h 10000"/>
              <a:gd name="connsiteX17" fmla="*/ 5672 w 10000"/>
              <a:gd name="connsiteY17" fmla="*/ 7681 h 10000"/>
              <a:gd name="connsiteX18" fmla="*/ 6467 w 10000"/>
              <a:gd name="connsiteY18" fmla="*/ 6463 h 10000"/>
              <a:gd name="connsiteX19" fmla="*/ 8067 w 10000"/>
              <a:gd name="connsiteY19" fmla="*/ 4364 h 10000"/>
              <a:gd name="connsiteX20" fmla="*/ 9251 w 10000"/>
              <a:gd name="connsiteY20" fmla="*/ 2578 h 10000"/>
              <a:gd name="connsiteX21" fmla="*/ 9851 w 10000"/>
              <a:gd name="connsiteY21" fmla="*/ 1150 h 10000"/>
              <a:gd name="connsiteX22" fmla="*/ 9943 w 10000"/>
              <a:gd name="connsiteY22" fmla="*/ 714 h 10000"/>
              <a:gd name="connsiteX23" fmla="*/ 9960 w 10000"/>
              <a:gd name="connsiteY23" fmla="*/ 563 h 10000"/>
              <a:gd name="connsiteX24" fmla="*/ 9971 w 10000"/>
              <a:gd name="connsiteY24" fmla="*/ 411 h 10000"/>
              <a:gd name="connsiteX25" fmla="*/ 9977 w 10000"/>
              <a:gd name="connsiteY25" fmla="*/ 377 h 10000"/>
              <a:gd name="connsiteX0" fmla="*/ 9977 w 10000"/>
              <a:gd name="connsiteY0" fmla="*/ 377 h 10000"/>
              <a:gd name="connsiteX1" fmla="*/ 9977 w 10000"/>
              <a:gd name="connsiteY1" fmla="*/ 357 h 10000"/>
              <a:gd name="connsiteX2" fmla="*/ 9989 w 10000"/>
              <a:gd name="connsiteY2" fmla="*/ 88 h 10000"/>
              <a:gd name="connsiteX3" fmla="*/ 9971 w 10000"/>
              <a:gd name="connsiteY3" fmla="*/ 20 h 10000"/>
              <a:gd name="connsiteX4" fmla="*/ 9989 w 10000"/>
              <a:gd name="connsiteY4" fmla="*/ 0 h 10000"/>
              <a:gd name="connsiteX5" fmla="*/ 51 w 10000"/>
              <a:gd name="connsiteY5" fmla="*/ 0 h 10000"/>
              <a:gd name="connsiteX6" fmla="*/ 0 w 10000"/>
              <a:gd name="connsiteY6" fmla="*/ 44 h 10000"/>
              <a:gd name="connsiteX7" fmla="*/ 0 w 10000"/>
              <a:gd name="connsiteY7" fmla="*/ 8865 h 10000"/>
              <a:gd name="connsiteX8" fmla="*/ 46 w 10000"/>
              <a:gd name="connsiteY8" fmla="*/ 8865 h 10000"/>
              <a:gd name="connsiteX9" fmla="*/ 91 w 10000"/>
              <a:gd name="connsiteY9" fmla="*/ 8894 h 10000"/>
              <a:gd name="connsiteX10" fmla="*/ 1041 w 10000"/>
              <a:gd name="connsiteY10" fmla="*/ 9437 h 10000"/>
              <a:gd name="connsiteX11" fmla="*/ 2802 w 10000"/>
              <a:gd name="connsiteY11" fmla="*/ 9961 h 10000"/>
              <a:gd name="connsiteX12" fmla="*/ 3985 w 10000"/>
              <a:gd name="connsiteY12" fmla="*/ 9878 h 10000"/>
              <a:gd name="connsiteX13" fmla="*/ 5397 w 10000"/>
              <a:gd name="connsiteY13" fmla="*/ 9090 h 10000"/>
              <a:gd name="connsiteX14" fmla="*/ 5409 w 10000"/>
              <a:gd name="connsiteY14" fmla="*/ 9036 h 10000"/>
              <a:gd name="connsiteX15" fmla="*/ 5363 w 10000"/>
              <a:gd name="connsiteY15" fmla="*/ 8552 h 10000"/>
              <a:gd name="connsiteX16" fmla="*/ 5672 w 10000"/>
              <a:gd name="connsiteY16" fmla="*/ 7681 h 10000"/>
              <a:gd name="connsiteX17" fmla="*/ 6467 w 10000"/>
              <a:gd name="connsiteY17" fmla="*/ 6463 h 10000"/>
              <a:gd name="connsiteX18" fmla="*/ 8067 w 10000"/>
              <a:gd name="connsiteY18" fmla="*/ 4364 h 10000"/>
              <a:gd name="connsiteX19" fmla="*/ 9251 w 10000"/>
              <a:gd name="connsiteY19" fmla="*/ 2578 h 10000"/>
              <a:gd name="connsiteX20" fmla="*/ 9851 w 10000"/>
              <a:gd name="connsiteY20" fmla="*/ 1150 h 10000"/>
              <a:gd name="connsiteX21" fmla="*/ 9943 w 10000"/>
              <a:gd name="connsiteY21" fmla="*/ 714 h 10000"/>
              <a:gd name="connsiteX22" fmla="*/ 9960 w 10000"/>
              <a:gd name="connsiteY22" fmla="*/ 563 h 10000"/>
              <a:gd name="connsiteX23" fmla="*/ 9971 w 10000"/>
              <a:gd name="connsiteY23" fmla="*/ 411 h 10000"/>
              <a:gd name="connsiteX24" fmla="*/ 9977 w 10000"/>
              <a:gd name="connsiteY24" fmla="*/ 377 h 10000"/>
              <a:gd name="connsiteX0" fmla="*/ 9977 w 10000"/>
              <a:gd name="connsiteY0" fmla="*/ 377 h 10000"/>
              <a:gd name="connsiteX1" fmla="*/ 9977 w 10000"/>
              <a:gd name="connsiteY1" fmla="*/ 357 h 10000"/>
              <a:gd name="connsiteX2" fmla="*/ 9989 w 10000"/>
              <a:gd name="connsiteY2" fmla="*/ 88 h 10000"/>
              <a:gd name="connsiteX3" fmla="*/ 9971 w 10000"/>
              <a:gd name="connsiteY3" fmla="*/ 20 h 10000"/>
              <a:gd name="connsiteX4" fmla="*/ 51 w 10000"/>
              <a:gd name="connsiteY4" fmla="*/ 0 h 10000"/>
              <a:gd name="connsiteX5" fmla="*/ 0 w 10000"/>
              <a:gd name="connsiteY5" fmla="*/ 44 h 10000"/>
              <a:gd name="connsiteX6" fmla="*/ 0 w 10000"/>
              <a:gd name="connsiteY6" fmla="*/ 8865 h 10000"/>
              <a:gd name="connsiteX7" fmla="*/ 46 w 10000"/>
              <a:gd name="connsiteY7" fmla="*/ 8865 h 10000"/>
              <a:gd name="connsiteX8" fmla="*/ 91 w 10000"/>
              <a:gd name="connsiteY8" fmla="*/ 8894 h 10000"/>
              <a:gd name="connsiteX9" fmla="*/ 1041 w 10000"/>
              <a:gd name="connsiteY9" fmla="*/ 9437 h 10000"/>
              <a:gd name="connsiteX10" fmla="*/ 2802 w 10000"/>
              <a:gd name="connsiteY10" fmla="*/ 9961 h 10000"/>
              <a:gd name="connsiteX11" fmla="*/ 3985 w 10000"/>
              <a:gd name="connsiteY11" fmla="*/ 9878 h 10000"/>
              <a:gd name="connsiteX12" fmla="*/ 5397 w 10000"/>
              <a:gd name="connsiteY12" fmla="*/ 9090 h 10000"/>
              <a:gd name="connsiteX13" fmla="*/ 5409 w 10000"/>
              <a:gd name="connsiteY13" fmla="*/ 9036 h 10000"/>
              <a:gd name="connsiteX14" fmla="*/ 5363 w 10000"/>
              <a:gd name="connsiteY14" fmla="*/ 8552 h 10000"/>
              <a:gd name="connsiteX15" fmla="*/ 5672 w 10000"/>
              <a:gd name="connsiteY15" fmla="*/ 7681 h 10000"/>
              <a:gd name="connsiteX16" fmla="*/ 6467 w 10000"/>
              <a:gd name="connsiteY16" fmla="*/ 6463 h 10000"/>
              <a:gd name="connsiteX17" fmla="*/ 8067 w 10000"/>
              <a:gd name="connsiteY17" fmla="*/ 4364 h 10000"/>
              <a:gd name="connsiteX18" fmla="*/ 9251 w 10000"/>
              <a:gd name="connsiteY18" fmla="*/ 2578 h 10000"/>
              <a:gd name="connsiteX19" fmla="*/ 9851 w 10000"/>
              <a:gd name="connsiteY19" fmla="*/ 1150 h 10000"/>
              <a:gd name="connsiteX20" fmla="*/ 9943 w 10000"/>
              <a:gd name="connsiteY20" fmla="*/ 714 h 10000"/>
              <a:gd name="connsiteX21" fmla="*/ 9960 w 10000"/>
              <a:gd name="connsiteY21" fmla="*/ 563 h 10000"/>
              <a:gd name="connsiteX22" fmla="*/ 9971 w 10000"/>
              <a:gd name="connsiteY22" fmla="*/ 411 h 10000"/>
              <a:gd name="connsiteX23" fmla="*/ 9977 w 10000"/>
              <a:gd name="connsiteY23" fmla="*/ 377 h 10000"/>
              <a:gd name="connsiteX0" fmla="*/ 9977 w 10000"/>
              <a:gd name="connsiteY0" fmla="*/ 377 h 10000"/>
              <a:gd name="connsiteX1" fmla="*/ 9977 w 10000"/>
              <a:gd name="connsiteY1" fmla="*/ 357 h 10000"/>
              <a:gd name="connsiteX2" fmla="*/ 9989 w 10000"/>
              <a:gd name="connsiteY2" fmla="*/ 88 h 10000"/>
              <a:gd name="connsiteX3" fmla="*/ 9977 w 10000"/>
              <a:gd name="connsiteY3" fmla="*/ 0 h 10000"/>
              <a:gd name="connsiteX4" fmla="*/ 51 w 10000"/>
              <a:gd name="connsiteY4" fmla="*/ 0 h 10000"/>
              <a:gd name="connsiteX5" fmla="*/ 0 w 10000"/>
              <a:gd name="connsiteY5" fmla="*/ 44 h 10000"/>
              <a:gd name="connsiteX6" fmla="*/ 0 w 10000"/>
              <a:gd name="connsiteY6" fmla="*/ 8865 h 10000"/>
              <a:gd name="connsiteX7" fmla="*/ 46 w 10000"/>
              <a:gd name="connsiteY7" fmla="*/ 8865 h 10000"/>
              <a:gd name="connsiteX8" fmla="*/ 91 w 10000"/>
              <a:gd name="connsiteY8" fmla="*/ 8894 h 10000"/>
              <a:gd name="connsiteX9" fmla="*/ 1041 w 10000"/>
              <a:gd name="connsiteY9" fmla="*/ 9437 h 10000"/>
              <a:gd name="connsiteX10" fmla="*/ 2802 w 10000"/>
              <a:gd name="connsiteY10" fmla="*/ 9961 h 10000"/>
              <a:gd name="connsiteX11" fmla="*/ 3985 w 10000"/>
              <a:gd name="connsiteY11" fmla="*/ 9878 h 10000"/>
              <a:gd name="connsiteX12" fmla="*/ 5397 w 10000"/>
              <a:gd name="connsiteY12" fmla="*/ 9090 h 10000"/>
              <a:gd name="connsiteX13" fmla="*/ 5409 w 10000"/>
              <a:gd name="connsiteY13" fmla="*/ 9036 h 10000"/>
              <a:gd name="connsiteX14" fmla="*/ 5363 w 10000"/>
              <a:gd name="connsiteY14" fmla="*/ 8552 h 10000"/>
              <a:gd name="connsiteX15" fmla="*/ 5672 w 10000"/>
              <a:gd name="connsiteY15" fmla="*/ 7681 h 10000"/>
              <a:gd name="connsiteX16" fmla="*/ 6467 w 10000"/>
              <a:gd name="connsiteY16" fmla="*/ 6463 h 10000"/>
              <a:gd name="connsiteX17" fmla="*/ 8067 w 10000"/>
              <a:gd name="connsiteY17" fmla="*/ 4364 h 10000"/>
              <a:gd name="connsiteX18" fmla="*/ 9251 w 10000"/>
              <a:gd name="connsiteY18" fmla="*/ 2578 h 10000"/>
              <a:gd name="connsiteX19" fmla="*/ 9851 w 10000"/>
              <a:gd name="connsiteY19" fmla="*/ 1150 h 10000"/>
              <a:gd name="connsiteX20" fmla="*/ 9943 w 10000"/>
              <a:gd name="connsiteY20" fmla="*/ 714 h 10000"/>
              <a:gd name="connsiteX21" fmla="*/ 9960 w 10000"/>
              <a:gd name="connsiteY21" fmla="*/ 563 h 10000"/>
              <a:gd name="connsiteX22" fmla="*/ 9971 w 10000"/>
              <a:gd name="connsiteY22" fmla="*/ 411 h 10000"/>
              <a:gd name="connsiteX23" fmla="*/ 9977 w 10000"/>
              <a:gd name="connsiteY23" fmla="*/ 377 h 10000"/>
              <a:gd name="connsiteX0" fmla="*/ 9971 w 9990"/>
              <a:gd name="connsiteY0" fmla="*/ 411 h 10000"/>
              <a:gd name="connsiteX1" fmla="*/ 9977 w 9990"/>
              <a:gd name="connsiteY1" fmla="*/ 357 h 10000"/>
              <a:gd name="connsiteX2" fmla="*/ 9989 w 9990"/>
              <a:gd name="connsiteY2" fmla="*/ 88 h 10000"/>
              <a:gd name="connsiteX3" fmla="*/ 9977 w 9990"/>
              <a:gd name="connsiteY3" fmla="*/ 0 h 10000"/>
              <a:gd name="connsiteX4" fmla="*/ 51 w 9990"/>
              <a:gd name="connsiteY4" fmla="*/ 0 h 10000"/>
              <a:gd name="connsiteX5" fmla="*/ 0 w 9990"/>
              <a:gd name="connsiteY5" fmla="*/ 44 h 10000"/>
              <a:gd name="connsiteX6" fmla="*/ 0 w 9990"/>
              <a:gd name="connsiteY6" fmla="*/ 8865 h 10000"/>
              <a:gd name="connsiteX7" fmla="*/ 46 w 9990"/>
              <a:gd name="connsiteY7" fmla="*/ 8865 h 10000"/>
              <a:gd name="connsiteX8" fmla="*/ 91 w 9990"/>
              <a:gd name="connsiteY8" fmla="*/ 8894 h 10000"/>
              <a:gd name="connsiteX9" fmla="*/ 1041 w 9990"/>
              <a:gd name="connsiteY9" fmla="*/ 9437 h 10000"/>
              <a:gd name="connsiteX10" fmla="*/ 2802 w 9990"/>
              <a:gd name="connsiteY10" fmla="*/ 9961 h 10000"/>
              <a:gd name="connsiteX11" fmla="*/ 3985 w 9990"/>
              <a:gd name="connsiteY11" fmla="*/ 9878 h 10000"/>
              <a:gd name="connsiteX12" fmla="*/ 5397 w 9990"/>
              <a:gd name="connsiteY12" fmla="*/ 9090 h 10000"/>
              <a:gd name="connsiteX13" fmla="*/ 5409 w 9990"/>
              <a:gd name="connsiteY13" fmla="*/ 9036 h 10000"/>
              <a:gd name="connsiteX14" fmla="*/ 5363 w 9990"/>
              <a:gd name="connsiteY14" fmla="*/ 8552 h 10000"/>
              <a:gd name="connsiteX15" fmla="*/ 5672 w 9990"/>
              <a:gd name="connsiteY15" fmla="*/ 7681 h 10000"/>
              <a:gd name="connsiteX16" fmla="*/ 6467 w 9990"/>
              <a:gd name="connsiteY16" fmla="*/ 6463 h 10000"/>
              <a:gd name="connsiteX17" fmla="*/ 8067 w 9990"/>
              <a:gd name="connsiteY17" fmla="*/ 4364 h 10000"/>
              <a:gd name="connsiteX18" fmla="*/ 9251 w 9990"/>
              <a:gd name="connsiteY18" fmla="*/ 2578 h 10000"/>
              <a:gd name="connsiteX19" fmla="*/ 9851 w 9990"/>
              <a:gd name="connsiteY19" fmla="*/ 1150 h 10000"/>
              <a:gd name="connsiteX20" fmla="*/ 9943 w 9990"/>
              <a:gd name="connsiteY20" fmla="*/ 714 h 10000"/>
              <a:gd name="connsiteX21" fmla="*/ 9960 w 9990"/>
              <a:gd name="connsiteY21" fmla="*/ 563 h 10000"/>
              <a:gd name="connsiteX22" fmla="*/ 9971 w 9990"/>
              <a:gd name="connsiteY22" fmla="*/ 41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9990" h="10000">
                <a:moveTo>
                  <a:pt x="9971" y="411"/>
                </a:moveTo>
                <a:cubicBezTo>
                  <a:pt x="9974" y="377"/>
                  <a:pt x="9974" y="411"/>
                  <a:pt x="9977" y="357"/>
                </a:cubicBezTo>
                <a:cubicBezTo>
                  <a:pt x="9979" y="309"/>
                  <a:pt x="9990" y="137"/>
                  <a:pt x="9989" y="88"/>
                </a:cubicBezTo>
                <a:cubicBezTo>
                  <a:pt x="9988" y="32"/>
                  <a:pt x="9977" y="15"/>
                  <a:pt x="9977" y="0"/>
                </a:cubicBezTo>
                <a:lnTo>
                  <a:pt x="51" y="0"/>
                </a:lnTo>
                <a:cubicBezTo>
                  <a:pt x="6" y="0"/>
                  <a:pt x="0" y="5"/>
                  <a:pt x="0" y="44"/>
                </a:cubicBezTo>
                <a:lnTo>
                  <a:pt x="0" y="8865"/>
                </a:lnTo>
                <a:lnTo>
                  <a:pt x="46" y="8865"/>
                </a:lnTo>
                <a:cubicBezTo>
                  <a:pt x="57" y="8875"/>
                  <a:pt x="74" y="8885"/>
                  <a:pt x="91" y="8894"/>
                </a:cubicBezTo>
                <a:cubicBezTo>
                  <a:pt x="395" y="9090"/>
                  <a:pt x="709" y="9276"/>
                  <a:pt x="1041" y="9437"/>
                </a:cubicBezTo>
                <a:cubicBezTo>
                  <a:pt x="1589" y="9702"/>
                  <a:pt x="2167" y="9902"/>
                  <a:pt x="2802" y="9961"/>
                </a:cubicBezTo>
                <a:cubicBezTo>
                  <a:pt x="3202" y="10000"/>
                  <a:pt x="3596" y="9976"/>
                  <a:pt x="3985" y="9878"/>
                </a:cubicBezTo>
                <a:cubicBezTo>
                  <a:pt x="4545" y="9731"/>
                  <a:pt x="4997" y="9447"/>
                  <a:pt x="5397" y="9090"/>
                </a:cubicBezTo>
                <a:cubicBezTo>
                  <a:pt x="5420" y="9075"/>
                  <a:pt x="5420" y="9061"/>
                  <a:pt x="5409" y="9036"/>
                </a:cubicBezTo>
                <a:cubicBezTo>
                  <a:pt x="5352" y="8880"/>
                  <a:pt x="5346" y="8713"/>
                  <a:pt x="5363" y="8552"/>
                </a:cubicBezTo>
                <a:cubicBezTo>
                  <a:pt x="5403" y="8244"/>
                  <a:pt x="5529" y="7960"/>
                  <a:pt x="5672" y="7681"/>
                </a:cubicBezTo>
                <a:cubicBezTo>
                  <a:pt x="5901" y="7255"/>
                  <a:pt x="6181" y="6859"/>
                  <a:pt x="6467" y="6463"/>
                </a:cubicBezTo>
                <a:cubicBezTo>
                  <a:pt x="6987" y="5758"/>
                  <a:pt x="7547" y="5068"/>
                  <a:pt x="8067" y="4364"/>
                </a:cubicBezTo>
                <a:cubicBezTo>
                  <a:pt x="8496" y="3787"/>
                  <a:pt x="8908" y="3200"/>
                  <a:pt x="9251" y="2578"/>
                </a:cubicBezTo>
                <a:cubicBezTo>
                  <a:pt x="9503" y="2118"/>
                  <a:pt x="9714" y="1649"/>
                  <a:pt x="9851" y="1150"/>
                </a:cubicBezTo>
                <a:cubicBezTo>
                  <a:pt x="9891" y="1008"/>
                  <a:pt x="9914" y="861"/>
                  <a:pt x="9943" y="714"/>
                </a:cubicBezTo>
                <a:cubicBezTo>
                  <a:pt x="9961" y="616"/>
                  <a:pt x="9955" y="613"/>
                  <a:pt x="9960" y="563"/>
                </a:cubicBezTo>
                <a:cubicBezTo>
                  <a:pt x="9966" y="514"/>
                  <a:pt x="9971" y="465"/>
                  <a:pt x="9971" y="411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824315"/>
            <a:ext cx="3763883" cy="183007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98BC8B91-D2A3-4F52-B4E2-1C3C1B69194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7349" y="2640369"/>
            <a:ext cx="3763883" cy="23888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="" xmlns:a16="http://schemas.microsoft.com/office/drawing/2014/main" id="{903698A5-92B9-4CBB-8D49-254FE21D323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936000" y="0"/>
            <a:ext cx="8256000" cy="6472224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62674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12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3.xml"/><Relationship Id="rId9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3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9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11" name="Groupe 10">
            <a:extLst>
              <a:ext uri="{FF2B5EF4-FFF2-40B4-BE49-F238E27FC236}">
                <a16:creationId xmlns="" xmlns:a16="http://schemas.microsoft.com/office/drawing/2014/main" id="{01121859-F762-419C-9C4A-40A01CD7C49C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FB3BEB62-4B1E-40E4-8FCC-B8CB0BBD35B5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9D1AA485-A296-460B-ACD4-E9A839D4154F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E31B9F59-0ECA-47A7-9EF4-55219F7115DA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30163314-3438-4086-92B9-BEA506AF7B67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B1946404-E913-4611-B60D-88197A3A958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="" xmlns:a16="http://schemas.microsoft.com/office/drawing/2014/main" id="{EF5AB0F2-6E64-46F0-BD92-6EB0249F7869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E96CC5A4-73FA-4963-8791-9F16818EE9F7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D601B378-F054-446E-ABEA-DBF438FC4C0F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7EE5894B-82C1-47CE-AB2D-716B04C166B3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24D8312A-CD4E-48DC-A1B5-EAF55D698519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01D8D542-0E15-4DE1-9844-A8050C339FE5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8F49CA09-AE86-41FA-9356-6FC8EE7391C4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51109D26-F0C7-4FC8-972D-ED8575929EE8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1D96732A-7E23-4C9A-8E08-7D88F436EF4D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E5596828-E4BA-4446-BD9B-8D8312B48D54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2CB4E2F4-8CF3-415A-9762-40F440A8E1AF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352015DD-D634-4D16-8735-64BE062FABD7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D5A860D5-1662-43CF-B8DA-BB0C3726EEE2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="" xmlns:a16="http://schemas.microsoft.com/office/drawing/2014/main" id="{52787567-74CB-4D91-9BC5-E613F3D34A48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="" xmlns:a16="http://schemas.microsoft.com/office/drawing/2014/main" id="{C65EE89A-C685-4312-9D10-FCBB394D05D0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935" r:id="rId8"/>
    <p:sldLayoutId id="2147483936" r:id="rId9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5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F40BB7E4-8ECC-4C78-AD84-365CCD1BF3BA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E3744E6B-CB52-459A-B303-28B410FC13B6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50728129-E1A3-44AD-A94D-EAC3F5A33EC9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="" xmlns:a16="http://schemas.microsoft.com/office/drawing/2014/main" id="{E1D9C6C3-E70E-40BE-9312-BC398A91B9C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="" xmlns:a16="http://schemas.microsoft.com/office/drawing/2014/main" id="{39DECA47-208E-41FD-B79D-328EF538D430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B7BE54DE-F115-407F-8B7F-8C11B9FD4BF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42" r:id="rId4"/>
    <p:sldLayoutId id="2147483932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  <p15:guide id="3" pos="2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.wmf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3.vml"/><Relationship Id="rId6" Type="http://schemas.openxmlformats.org/officeDocument/2006/relationships/package" Target="../embeddings/Microsoft_Excel_Worksheet1.xlsx"/><Relationship Id="rId5" Type="http://schemas.openxmlformats.org/officeDocument/2006/relationships/image" Target="../media/image3.wmf"/><Relationship Id="rId4" Type="http://schemas.openxmlformats.org/officeDocument/2006/relationships/oleObject" Target="../embeddings/Microsoft_Excel_97-2003_Worksheet1.xls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4152000" y="3573000"/>
            <a:ext cx="7763774" cy="720847"/>
          </a:xfrm>
        </p:spPr>
        <p:txBody>
          <a:bodyPr/>
          <a:lstStyle/>
          <a:p>
            <a:r>
              <a:rPr lang="en-US" sz="3500" dirty="0"/>
              <a:t>Management Information System</a:t>
            </a:r>
            <a:endParaRPr lang="en-GB" sz="35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4308226" y="4653037"/>
            <a:ext cx="6899275" cy="1223963"/>
          </a:xfrm>
        </p:spPr>
        <p:txBody>
          <a:bodyPr/>
          <a:lstStyle/>
          <a:p>
            <a:r>
              <a:rPr lang="en-US" sz="2000" dirty="0"/>
              <a:t>Author</a:t>
            </a:r>
            <a:r>
              <a:rPr lang="en-US" sz="2000" dirty="0" smtClean="0"/>
              <a:t>: Tushar Verma (46005803)</a:t>
            </a:r>
          </a:p>
          <a:p>
            <a:endParaRPr lang="en-US" sz="2000" dirty="0"/>
          </a:p>
          <a:p>
            <a:r>
              <a:rPr lang="en-US" sz="2000" dirty="0" smtClean="0"/>
              <a:t>Batch: Cloud and Automation</a:t>
            </a:r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Date</a:t>
            </a:r>
            <a:r>
              <a:rPr lang="en-US" sz="2000" dirty="0" smtClean="0"/>
              <a:t>: 07-FEB-2020</a:t>
            </a:r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Location</a:t>
            </a:r>
            <a:r>
              <a:rPr lang="en-US" sz="2000" dirty="0" smtClean="0"/>
              <a:t>: Tvaksa, STP, Bangalore, India</a:t>
            </a:r>
            <a:endParaRPr lang="en-US" sz="2000" dirty="0"/>
          </a:p>
          <a:p>
            <a:endParaRPr lang="en-GB" sz="20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4944000" y="4941000"/>
            <a:ext cx="6840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00" dirty="0" smtClean="0">
                <a:solidFill>
                  <a:schemeClr val="accent1">
                    <a:lumMod val="75000"/>
                  </a:schemeClr>
                </a:solidFill>
              </a:rPr>
              <a:t>THANK YOU !</a:t>
            </a:r>
            <a:endParaRPr lang="en-US" sz="720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14502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 Placeholder 3">
            <a:extLst>
              <a:ext uri="{FF2B5EF4-FFF2-40B4-BE49-F238E27FC236}">
                <a16:creationId xmlns="" xmlns:a16="http://schemas.microsoft.com/office/drawing/2014/main" id="{734793A7-BFE6-41B2-B001-6AFB16BB0DE5}"/>
              </a:ext>
            </a:extLst>
          </p:cNvPr>
          <p:cNvSpPr txBox="1">
            <a:spLocks/>
          </p:cNvSpPr>
          <p:nvPr/>
        </p:nvSpPr>
        <p:spPr>
          <a:xfrm>
            <a:off x="7899399" y="1226738"/>
            <a:ext cx="3708401" cy="55544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dirty="0" smtClean="0">
                <a:solidFill>
                  <a:srgbClr val="2B0A3D"/>
                </a:solidFill>
              </a:rPr>
              <a:t>Lab Learning</a:t>
            </a:r>
            <a:endParaRPr lang="pt-PT" dirty="0">
              <a:solidFill>
                <a:srgbClr val="2B0A3D"/>
              </a:solidFill>
            </a:endParaRPr>
          </a:p>
        </p:txBody>
      </p:sp>
      <p:sp>
        <p:nvSpPr>
          <p:cNvPr id="41" name="Text Placeholder 4">
            <a:extLst>
              <a:ext uri="{FF2B5EF4-FFF2-40B4-BE49-F238E27FC236}">
                <a16:creationId xmlns="" xmlns:a16="http://schemas.microsoft.com/office/drawing/2014/main" id="{0A8955CB-474E-4986-A736-CF087E5F3843}"/>
              </a:ext>
            </a:extLst>
          </p:cNvPr>
          <p:cNvSpPr txBox="1">
            <a:spLocks/>
          </p:cNvSpPr>
          <p:nvPr/>
        </p:nvSpPr>
        <p:spPr>
          <a:xfrm>
            <a:off x="7899399" y="1912986"/>
            <a:ext cx="3708401" cy="55544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dirty="0" smtClean="0">
                <a:solidFill>
                  <a:srgbClr val="2B0A3D"/>
                </a:solidFill>
              </a:rPr>
              <a:t>Setup and Documentation</a:t>
            </a:r>
            <a:endParaRPr lang="pt-PT" dirty="0">
              <a:solidFill>
                <a:srgbClr val="2B0A3D"/>
              </a:solidFill>
            </a:endParaRPr>
          </a:p>
        </p:txBody>
      </p:sp>
      <p:sp>
        <p:nvSpPr>
          <p:cNvPr id="42" name="Text Placeholder 5">
            <a:extLst>
              <a:ext uri="{FF2B5EF4-FFF2-40B4-BE49-F238E27FC236}">
                <a16:creationId xmlns="" xmlns:a16="http://schemas.microsoft.com/office/drawing/2014/main" id="{A6099DA7-7E85-4686-A870-176350D17AC4}"/>
              </a:ext>
            </a:extLst>
          </p:cNvPr>
          <p:cNvSpPr txBox="1">
            <a:spLocks/>
          </p:cNvSpPr>
          <p:nvPr/>
        </p:nvSpPr>
        <p:spPr>
          <a:xfrm>
            <a:off x="7899399" y="2593438"/>
            <a:ext cx="3708401" cy="55544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dirty="0" smtClean="0">
                <a:solidFill>
                  <a:srgbClr val="2B0A3D"/>
                </a:solidFill>
              </a:rPr>
              <a:t>Technical Performance</a:t>
            </a:r>
            <a:endParaRPr lang="pt-PT" dirty="0">
              <a:solidFill>
                <a:srgbClr val="2B0A3D"/>
              </a:solidFill>
            </a:endParaRPr>
          </a:p>
        </p:txBody>
      </p:sp>
      <p:sp>
        <p:nvSpPr>
          <p:cNvPr id="43" name="Text Placeholder 6">
            <a:extLst>
              <a:ext uri="{FF2B5EF4-FFF2-40B4-BE49-F238E27FC236}">
                <a16:creationId xmlns="" xmlns:a16="http://schemas.microsoft.com/office/drawing/2014/main" id="{70A471DD-B789-4968-AFC3-E5B3E18C25CA}"/>
              </a:ext>
            </a:extLst>
          </p:cNvPr>
          <p:cNvSpPr txBox="1">
            <a:spLocks/>
          </p:cNvSpPr>
          <p:nvPr/>
        </p:nvSpPr>
        <p:spPr>
          <a:xfrm>
            <a:off x="7899399" y="3276788"/>
            <a:ext cx="3708401" cy="55544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dirty="0" smtClean="0">
                <a:solidFill>
                  <a:srgbClr val="2B0A3D"/>
                </a:solidFill>
              </a:rPr>
              <a:t>SLA Performance</a:t>
            </a:r>
            <a:endParaRPr lang="pt-PT" dirty="0">
              <a:solidFill>
                <a:srgbClr val="2B0A3D"/>
              </a:solidFill>
            </a:endParaRPr>
          </a:p>
        </p:txBody>
      </p:sp>
      <p:sp>
        <p:nvSpPr>
          <p:cNvPr id="44" name="Text Placeholder 7">
            <a:extLst>
              <a:ext uri="{FF2B5EF4-FFF2-40B4-BE49-F238E27FC236}">
                <a16:creationId xmlns="" xmlns:a16="http://schemas.microsoft.com/office/drawing/2014/main" id="{EF488AB2-30F0-4F21-A77E-153EC76960BC}"/>
              </a:ext>
            </a:extLst>
          </p:cNvPr>
          <p:cNvSpPr txBox="1">
            <a:spLocks/>
          </p:cNvSpPr>
          <p:nvPr/>
        </p:nvSpPr>
        <p:spPr>
          <a:xfrm>
            <a:off x="7899399" y="3960138"/>
            <a:ext cx="3708401" cy="55544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dirty="0" smtClean="0">
                <a:solidFill>
                  <a:srgbClr val="2B0A3D"/>
                </a:solidFill>
              </a:rPr>
              <a:t>Highlights</a:t>
            </a:r>
            <a:endParaRPr lang="pt-PT" dirty="0">
              <a:solidFill>
                <a:srgbClr val="2B0A3D"/>
              </a:solidFill>
            </a:endParaRPr>
          </a:p>
        </p:txBody>
      </p:sp>
      <p:sp>
        <p:nvSpPr>
          <p:cNvPr id="45" name="Text Placeholder 8">
            <a:extLst>
              <a:ext uri="{FF2B5EF4-FFF2-40B4-BE49-F238E27FC236}">
                <a16:creationId xmlns="" xmlns:a16="http://schemas.microsoft.com/office/drawing/2014/main" id="{CA37ACDA-A4AD-4873-AEDD-6EC2EAF72A5F}"/>
              </a:ext>
            </a:extLst>
          </p:cNvPr>
          <p:cNvSpPr txBox="1">
            <a:spLocks/>
          </p:cNvSpPr>
          <p:nvPr/>
        </p:nvSpPr>
        <p:spPr>
          <a:xfrm>
            <a:off x="7899399" y="4647882"/>
            <a:ext cx="3708401" cy="55544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dirty="0" smtClean="0">
                <a:solidFill>
                  <a:srgbClr val="2B0A3D"/>
                </a:solidFill>
              </a:rPr>
              <a:t>Areas of Improvement</a:t>
            </a:r>
            <a:endParaRPr lang="pt-PT" dirty="0">
              <a:solidFill>
                <a:srgbClr val="2B0A3D"/>
              </a:solidFill>
            </a:endParaRPr>
          </a:p>
        </p:txBody>
      </p:sp>
      <p:sp>
        <p:nvSpPr>
          <p:cNvPr id="46" name="Text Placeholder 9">
            <a:extLst>
              <a:ext uri="{FF2B5EF4-FFF2-40B4-BE49-F238E27FC236}">
                <a16:creationId xmlns="" xmlns:a16="http://schemas.microsoft.com/office/drawing/2014/main" id="{95E4D568-2FAD-4526-86A6-DE210F725C6E}"/>
              </a:ext>
            </a:extLst>
          </p:cNvPr>
          <p:cNvSpPr txBox="1">
            <a:spLocks/>
          </p:cNvSpPr>
          <p:nvPr/>
        </p:nvSpPr>
        <p:spPr>
          <a:xfrm>
            <a:off x="7899399" y="5326838"/>
            <a:ext cx="3708401" cy="55544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dirty="0" smtClean="0">
                <a:solidFill>
                  <a:srgbClr val="2B0A3D"/>
                </a:solidFill>
              </a:rPr>
              <a:t>Self Rating</a:t>
            </a:r>
            <a:endParaRPr lang="pt-PT" dirty="0">
              <a:solidFill>
                <a:srgbClr val="2B0A3D"/>
              </a:solidFill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="" xmlns:a16="http://schemas.microsoft.com/office/drawing/2014/main" id="{8189EE50-59AC-46F3-BD37-B8E4D48478A6}"/>
              </a:ext>
            </a:extLst>
          </p:cNvPr>
          <p:cNvGrpSpPr/>
          <p:nvPr/>
        </p:nvGrpSpPr>
        <p:grpSpPr>
          <a:xfrm>
            <a:off x="7087039" y="1204685"/>
            <a:ext cx="634560" cy="599554"/>
            <a:chOff x="6230532" y="1335315"/>
            <a:chExt cx="1204015" cy="1137596"/>
          </a:xfrm>
        </p:grpSpPr>
        <p:sp>
          <p:nvSpPr>
            <p:cNvPr id="49" name="Oval 20">
              <a:extLst>
                <a:ext uri="{FF2B5EF4-FFF2-40B4-BE49-F238E27FC236}">
                  <a16:creationId xmlns="" xmlns:a16="http://schemas.microsoft.com/office/drawing/2014/main" id="{EF97AD63-FDE4-4F40-8BED-8FE83A52DEFB}"/>
                </a:ext>
              </a:extLst>
            </p:cNvPr>
            <p:cNvSpPr/>
            <p:nvPr/>
          </p:nvSpPr>
          <p:spPr>
            <a:xfrm>
              <a:off x="6230532" y="1335315"/>
              <a:ext cx="1204015" cy="1137596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0" name="Text Placeholder 14">
              <a:extLst>
                <a:ext uri="{FF2B5EF4-FFF2-40B4-BE49-F238E27FC236}">
                  <a16:creationId xmlns="" xmlns:a16="http://schemas.microsoft.com/office/drawing/2014/main" id="{265BC07F-7A73-49E6-9E28-17E6537EA48C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4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P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C004B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01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="" xmlns:a16="http://schemas.microsoft.com/office/drawing/2014/main" id="{74080E4E-2FA1-4CFF-93C0-7D46BB8CAC8A}"/>
              </a:ext>
            </a:extLst>
          </p:cNvPr>
          <p:cNvGrpSpPr/>
          <p:nvPr/>
        </p:nvGrpSpPr>
        <p:grpSpPr>
          <a:xfrm>
            <a:off x="7087040" y="1888035"/>
            <a:ext cx="634560" cy="599554"/>
            <a:chOff x="6230534" y="1335315"/>
            <a:chExt cx="1204015" cy="1137595"/>
          </a:xfrm>
        </p:grpSpPr>
        <p:sp>
          <p:nvSpPr>
            <p:cNvPr id="52" name="Oval 20">
              <a:extLst>
                <a:ext uri="{FF2B5EF4-FFF2-40B4-BE49-F238E27FC236}">
                  <a16:creationId xmlns="" xmlns:a16="http://schemas.microsoft.com/office/drawing/2014/main" id="{D61DE4EB-2239-4D2F-94EF-8BC3FEF3C1DB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" name="Text Placeholder 14">
              <a:extLst>
                <a:ext uri="{FF2B5EF4-FFF2-40B4-BE49-F238E27FC236}">
                  <a16:creationId xmlns="" xmlns:a16="http://schemas.microsoft.com/office/drawing/2014/main" id="{D777343A-AD30-4D95-9E0F-C9BD3D0A9CD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P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C004B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02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="" xmlns:a16="http://schemas.microsoft.com/office/drawing/2014/main" id="{07017D33-E2FF-484D-B696-626C1C836504}"/>
              </a:ext>
            </a:extLst>
          </p:cNvPr>
          <p:cNvGrpSpPr/>
          <p:nvPr/>
        </p:nvGrpSpPr>
        <p:grpSpPr>
          <a:xfrm>
            <a:off x="7087040" y="2571385"/>
            <a:ext cx="634560" cy="599554"/>
            <a:chOff x="6230534" y="1335315"/>
            <a:chExt cx="1204015" cy="1137595"/>
          </a:xfrm>
        </p:grpSpPr>
        <p:sp>
          <p:nvSpPr>
            <p:cNvPr id="55" name="Oval 20">
              <a:extLst>
                <a:ext uri="{FF2B5EF4-FFF2-40B4-BE49-F238E27FC236}">
                  <a16:creationId xmlns="" xmlns:a16="http://schemas.microsoft.com/office/drawing/2014/main" id="{874D12F6-7ADC-4AD6-8BB3-6BB151898C49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" name="Text Placeholder 14">
              <a:extLst>
                <a:ext uri="{FF2B5EF4-FFF2-40B4-BE49-F238E27FC236}">
                  <a16:creationId xmlns="" xmlns:a16="http://schemas.microsoft.com/office/drawing/2014/main" id="{BA8C9689-599A-40D4-A92B-5286008648E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P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C004B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03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="" xmlns:a16="http://schemas.microsoft.com/office/drawing/2014/main" id="{30D80709-8584-42AB-8AAB-0E45324C2B9D}"/>
              </a:ext>
            </a:extLst>
          </p:cNvPr>
          <p:cNvGrpSpPr/>
          <p:nvPr/>
        </p:nvGrpSpPr>
        <p:grpSpPr>
          <a:xfrm>
            <a:off x="7087040" y="3254735"/>
            <a:ext cx="634560" cy="599554"/>
            <a:chOff x="6230534" y="1335315"/>
            <a:chExt cx="1204015" cy="1137595"/>
          </a:xfrm>
        </p:grpSpPr>
        <p:sp>
          <p:nvSpPr>
            <p:cNvPr id="58" name="Oval 20">
              <a:extLst>
                <a:ext uri="{FF2B5EF4-FFF2-40B4-BE49-F238E27FC236}">
                  <a16:creationId xmlns="" xmlns:a16="http://schemas.microsoft.com/office/drawing/2014/main" id="{FB237556-3BC5-41EF-922C-15AE1E75F2ED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" name="Text Placeholder 14">
              <a:extLst>
                <a:ext uri="{FF2B5EF4-FFF2-40B4-BE49-F238E27FC236}">
                  <a16:creationId xmlns="" xmlns:a16="http://schemas.microsoft.com/office/drawing/2014/main" id="{2D641BFC-ADEC-4FB8-BE49-FBAA5AF7288D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P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C004B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04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="" xmlns:a16="http://schemas.microsoft.com/office/drawing/2014/main" id="{A1C665B4-01A8-4736-8CF2-DF80041503E9}"/>
              </a:ext>
            </a:extLst>
          </p:cNvPr>
          <p:cNvGrpSpPr/>
          <p:nvPr/>
        </p:nvGrpSpPr>
        <p:grpSpPr>
          <a:xfrm>
            <a:off x="7087040" y="3938085"/>
            <a:ext cx="634560" cy="599554"/>
            <a:chOff x="6230534" y="1335315"/>
            <a:chExt cx="1204015" cy="1137595"/>
          </a:xfrm>
        </p:grpSpPr>
        <p:sp>
          <p:nvSpPr>
            <p:cNvPr id="61" name="Oval 20">
              <a:extLst>
                <a:ext uri="{FF2B5EF4-FFF2-40B4-BE49-F238E27FC236}">
                  <a16:creationId xmlns="" xmlns:a16="http://schemas.microsoft.com/office/drawing/2014/main" id="{01BFE93B-C7C4-4BCE-912A-3801543A0C32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" name="Text Placeholder 14">
              <a:extLst>
                <a:ext uri="{FF2B5EF4-FFF2-40B4-BE49-F238E27FC236}">
                  <a16:creationId xmlns="" xmlns:a16="http://schemas.microsoft.com/office/drawing/2014/main" id="{1BDF894B-2EDA-444E-A844-3F725C8A5FFA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62761"/>
              <a:ext cx="887568" cy="482705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P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C004B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05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="" xmlns:a16="http://schemas.microsoft.com/office/drawing/2014/main" id="{0B30F4B7-F170-43BA-9B5B-CB073332B1FB}"/>
              </a:ext>
            </a:extLst>
          </p:cNvPr>
          <p:cNvGrpSpPr/>
          <p:nvPr/>
        </p:nvGrpSpPr>
        <p:grpSpPr>
          <a:xfrm>
            <a:off x="7087040" y="4621435"/>
            <a:ext cx="634560" cy="599554"/>
            <a:chOff x="6230534" y="1335315"/>
            <a:chExt cx="1204015" cy="1137595"/>
          </a:xfrm>
        </p:grpSpPr>
        <p:sp>
          <p:nvSpPr>
            <p:cNvPr id="64" name="Oval 20">
              <a:extLst>
                <a:ext uri="{FF2B5EF4-FFF2-40B4-BE49-F238E27FC236}">
                  <a16:creationId xmlns="" xmlns:a16="http://schemas.microsoft.com/office/drawing/2014/main" id="{ED1B2736-0E47-4479-BB35-9CA48A2940A9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5" name="Text Placeholder 14">
              <a:extLst>
                <a:ext uri="{FF2B5EF4-FFF2-40B4-BE49-F238E27FC236}">
                  <a16:creationId xmlns="" xmlns:a16="http://schemas.microsoft.com/office/drawing/2014/main" id="{9C6C0768-E63D-4C27-AF05-EC2EF9C77A40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P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C004B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06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="" xmlns:a16="http://schemas.microsoft.com/office/drawing/2014/main" id="{AE683BEE-E751-4393-B95C-19E53635EC8C}"/>
              </a:ext>
            </a:extLst>
          </p:cNvPr>
          <p:cNvGrpSpPr/>
          <p:nvPr/>
        </p:nvGrpSpPr>
        <p:grpSpPr>
          <a:xfrm>
            <a:off x="7087040" y="5304785"/>
            <a:ext cx="634560" cy="599554"/>
            <a:chOff x="6230534" y="1335315"/>
            <a:chExt cx="1204015" cy="1137595"/>
          </a:xfrm>
        </p:grpSpPr>
        <p:sp>
          <p:nvSpPr>
            <p:cNvPr id="67" name="Oval 20">
              <a:extLst>
                <a:ext uri="{FF2B5EF4-FFF2-40B4-BE49-F238E27FC236}">
                  <a16:creationId xmlns="" xmlns:a16="http://schemas.microsoft.com/office/drawing/2014/main" id="{F74AAE1B-B0BD-4834-AF68-0254327F1AEF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8" name="Text Placeholder 14">
              <a:extLst>
                <a:ext uri="{FF2B5EF4-FFF2-40B4-BE49-F238E27FC236}">
                  <a16:creationId xmlns="" xmlns:a16="http://schemas.microsoft.com/office/drawing/2014/main" id="{C97B7B3A-F267-48AF-A3EC-F2D4D8DB39B9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P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C004B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07</a:t>
              </a:r>
            </a:p>
          </p:txBody>
        </p:sp>
      </p:grpSp>
      <p:sp>
        <p:nvSpPr>
          <p:cNvPr id="72" name="Title 2">
            <a:extLst>
              <a:ext uri="{FF2B5EF4-FFF2-40B4-BE49-F238E27FC236}">
                <a16:creationId xmlns="" xmlns:a16="http://schemas.microsoft.com/office/drawing/2014/main" id="{8E7ABABF-33AD-4AE3-9126-EB0BDF00C15D}"/>
              </a:ext>
            </a:extLst>
          </p:cNvPr>
          <p:cNvSpPr txBox="1">
            <a:spLocks/>
          </p:cNvSpPr>
          <p:nvPr/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pt-PT" dirty="0">
                <a:solidFill>
                  <a:schemeClr val="bg2">
                    <a:lumMod val="90000"/>
                  </a:schemeClr>
                </a:solidFill>
              </a:rPr>
              <a:t>Contents</a:t>
            </a:r>
            <a:endParaRPr lang="en-GB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75257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Object 6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3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Rectangle 59"/>
          <p:cNvSpPr/>
          <p:nvPr/>
        </p:nvSpPr>
        <p:spPr>
          <a:xfrm>
            <a:off x="643101" y="2372497"/>
            <a:ext cx="3329572" cy="35834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2" name="Rectangle 61"/>
          <p:cNvSpPr/>
          <p:nvPr/>
        </p:nvSpPr>
        <p:spPr>
          <a:xfrm>
            <a:off x="6692837" y="2334966"/>
            <a:ext cx="3329572" cy="35834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64000" y="142169"/>
            <a:ext cx="11125236" cy="1104900"/>
          </a:xfrm>
        </p:spPr>
        <p:txBody>
          <a:bodyPr/>
          <a:lstStyle/>
          <a:p>
            <a:r>
              <a:rPr lang="en-US" dirty="0"/>
              <a:t>Lab Learning</a:t>
            </a:r>
            <a:endParaRPr lang="en-GB" dirty="0"/>
          </a:p>
        </p:txBody>
      </p:sp>
      <p:grpSp>
        <p:nvGrpSpPr>
          <p:cNvPr id="50" name="Group 25">
            <a:extLst>
              <a:ext uri="{FF2B5EF4-FFF2-40B4-BE49-F238E27FC236}">
                <a16:creationId xmlns="" xmlns:a16="http://schemas.microsoft.com/office/drawing/2014/main" id="{19621B79-FE8E-4A93-A16C-41B91E50197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39427" y="1605509"/>
            <a:ext cx="1330762" cy="1247369"/>
            <a:chOff x="-61" y="-66"/>
            <a:chExt cx="1133" cy="1062"/>
          </a:xfrm>
        </p:grpSpPr>
        <p:sp>
          <p:nvSpPr>
            <p:cNvPr id="51" name="Freeform 26">
              <a:extLst>
                <a:ext uri="{FF2B5EF4-FFF2-40B4-BE49-F238E27FC236}">
                  <a16:creationId xmlns="" xmlns:a16="http://schemas.microsoft.com/office/drawing/2014/main" id="{35B984F4-3610-4232-B295-D2FBF43093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" y="-66"/>
              <a:ext cx="1133" cy="1062"/>
            </a:xfrm>
            <a:custGeom>
              <a:avLst/>
              <a:gdLst>
                <a:gd name="T0" fmla="*/ 60 w 422"/>
                <a:gd name="T1" fmla="*/ 309 h 395"/>
                <a:gd name="T2" fmla="*/ 101 w 422"/>
                <a:gd name="T3" fmla="*/ 59 h 395"/>
                <a:gd name="T4" fmla="*/ 362 w 422"/>
                <a:gd name="T5" fmla="*/ 96 h 395"/>
                <a:gd name="T6" fmla="*/ 314 w 422"/>
                <a:gd name="T7" fmla="*/ 336 h 395"/>
                <a:gd name="T8" fmla="*/ 60 w 422"/>
                <a:gd name="T9" fmla="*/ 309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2" h="395">
                  <a:moveTo>
                    <a:pt x="60" y="309"/>
                  </a:moveTo>
                  <a:cubicBezTo>
                    <a:pt x="0" y="230"/>
                    <a:pt x="18" y="118"/>
                    <a:pt x="101" y="59"/>
                  </a:cubicBezTo>
                  <a:cubicBezTo>
                    <a:pt x="184" y="0"/>
                    <a:pt x="301" y="17"/>
                    <a:pt x="362" y="96"/>
                  </a:cubicBezTo>
                  <a:cubicBezTo>
                    <a:pt x="422" y="175"/>
                    <a:pt x="397" y="278"/>
                    <a:pt x="314" y="336"/>
                  </a:cubicBezTo>
                  <a:cubicBezTo>
                    <a:pt x="231" y="395"/>
                    <a:pt x="121" y="388"/>
                    <a:pt x="60" y="309"/>
                  </a:cubicBezTo>
                </a:path>
              </a:pathLst>
            </a:custGeom>
            <a:solidFill>
              <a:srgbClr val="FF30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52" name="Freeform 27">
              <a:extLst>
                <a:ext uri="{FF2B5EF4-FFF2-40B4-BE49-F238E27FC236}">
                  <a16:creationId xmlns="" xmlns:a16="http://schemas.microsoft.com/office/drawing/2014/main" id="{03832756-A96D-4697-98FF-ADCCD9C91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" y="259"/>
              <a:ext cx="632" cy="393"/>
            </a:xfrm>
            <a:custGeom>
              <a:avLst/>
              <a:gdLst>
                <a:gd name="T0" fmla="*/ 227 w 235"/>
                <a:gd name="T1" fmla="*/ 68 h 146"/>
                <a:gd name="T2" fmla="*/ 167 w 235"/>
                <a:gd name="T3" fmla="*/ 40 h 146"/>
                <a:gd name="T4" fmla="*/ 108 w 235"/>
                <a:gd name="T5" fmla="*/ 2 h 146"/>
                <a:gd name="T6" fmla="*/ 48 w 235"/>
                <a:gd name="T7" fmla="*/ 50 h 146"/>
                <a:gd name="T8" fmla="*/ 1 w 235"/>
                <a:gd name="T9" fmla="*/ 88 h 146"/>
                <a:gd name="T10" fmla="*/ 1 w 235"/>
                <a:gd name="T11" fmla="*/ 88 h 146"/>
                <a:gd name="T12" fmla="*/ 94 w 235"/>
                <a:gd name="T13" fmla="*/ 134 h 146"/>
                <a:gd name="T14" fmla="*/ 94 w 235"/>
                <a:gd name="T15" fmla="*/ 134 h 146"/>
                <a:gd name="T16" fmla="*/ 203 w 235"/>
                <a:gd name="T17" fmla="*/ 112 h 146"/>
                <a:gd name="T18" fmla="*/ 226 w 235"/>
                <a:gd name="T19" fmla="*/ 115 h 146"/>
                <a:gd name="T20" fmla="*/ 227 w 235"/>
                <a:gd name="T21" fmla="*/ 6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5" h="146">
                  <a:moveTo>
                    <a:pt x="227" y="68"/>
                  </a:moveTo>
                  <a:cubicBezTo>
                    <a:pt x="218" y="46"/>
                    <a:pt x="195" y="33"/>
                    <a:pt x="167" y="40"/>
                  </a:cubicBezTo>
                  <a:cubicBezTo>
                    <a:pt x="167" y="40"/>
                    <a:pt x="154" y="0"/>
                    <a:pt x="108" y="2"/>
                  </a:cubicBezTo>
                  <a:cubicBezTo>
                    <a:pt x="72" y="4"/>
                    <a:pt x="51" y="29"/>
                    <a:pt x="48" y="50"/>
                  </a:cubicBezTo>
                  <a:cubicBezTo>
                    <a:pt x="30" y="46"/>
                    <a:pt x="0" y="59"/>
                    <a:pt x="1" y="88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3" y="146"/>
                    <a:pt x="77" y="138"/>
                    <a:pt x="94" y="134"/>
                  </a:cubicBezTo>
                  <a:cubicBezTo>
                    <a:pt x="94" y="134"/>
                    <a:pt x="94" y="134"/>
                    <a:pt x="94" y="134"/>
                  </a:cubicBezTo>
                  <a:cubicBezTo>
                    <a:pt x="118" y="132"/>
                    <a:pt x="158" y="112"/>
                    <a:pt x="203" y="112"/>
                  </a:cubicBezTo>
                  <a:cubicBezTo>
                    <a:pt x="212" y="112"/>
                    <a:pt x="219" y="113"/>
                    <a:pt x="226" y="115"/>
                  </a:cubicBezTo>
                  <a:cubicBezTo>
                    <a:pt x="231" y="103"/>
                    <a:pt x="235" y="87"/>
                    <a:pt x="227" y="6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</p:grpSp>
      <p:grpSp>
        <p:nvGrpSpPr>
          <p:cNvPr id="53" name="Group 30">
            <a:extLst>
              <a:ext uri="{FF2B5EF4-FFF2-40B4-BE49-F238E27FC236}">
                <a16:creationId xmlns="" xmlns:a16="http://schemas.microsoft.com/office/drawing/2014/main" id="{2450D3E4-236D-4FB2-A7B0-FA7B6A48CF6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72000" y="1611797"/>
            <a:ext cx="1359985" cy="1271367"/>
            <a:chOff x="-223" y="-210"/>
            <a:chExt cx="3852" cy="3601"/>
          </a:xfrm>
        </p:grpSpPr>
        <p:sp>
          <p:nvSpPr>
            <p:cNvPr id="54" name="Freeform 31">
              <a:extLst>
                <a:ext uri="{FF2B5EF4-FFF2-40B4-BE49-F238E27FC236}">
                  <a16:creationId xmlns="" xmlns:a16="http://schemas.microsoft.com/office/drawing/2014/main" id="{3C2F6D0A-03AE-4E73-9FEB-1BFE4000F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23" y="-210"/>
              <a:ext cx="3852" cy="3601"/>
            </a:xfrm>
            <a:custGeom>
              <a:avLst/>
              <a:gdLst>
                <a:gd name="T0" fmla="*/ 207 w 1442"/>
                <a:gd name="T1" fmla="*/ 1053 h 1347"/>
                <a:gd name="T2" fmla="*/ 346 w 1442"/>
                <a:gd name="T3" fmla="*/ 201 h 1347"/>
                <a:gd name="T4" fmla="*/ 1235 w 1442"/>
                <a:gd name="T5" fmla="*/ 326 h 1347"/>
                <a:gd name="T6" fmla="*/ 1073 w 1442"/>
                <a:gd name="T7" fmla="*/ 1147 h 1347"/>
                <a:gd name="T8" fmla="*/ 207 w 1442"/>
                <a:gd name="T9" fmla="*/ 1053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2" h="1347">
                  <a:moveTo>
                    <a:pt x="207" y="1053"/>
                  </a:moveTo>
                  <a:cubicBezTo>
                    <a:pt x="0" y="783"/>
                    <a:pt x="62" y="401"/>
                    <a:pt x="346" y="201"/>
                  </a:cubicBezTo>
                  <a:cubicBezTo>
                    <a:pt x="629" y="0"/>
                    <a:pt x="1028" y="56"/>
                    <a:pt x="1235" y="326"/>
                  </a:cubicBezTo>
                  <a:cubicBezTo>
                    <a:pt x="1442" y="596"/>
                    <a:pt x="1357" y="946"/>
                    <a:pt x="1073" y="1147"/>
                  </a:cubicBezTo>
                  <a:cubicBezTo>
                    <a:pt x="790" y="1347"/>
                    <a:pt x="415" y="1324"/>
                    <a:pt x="207" y="1053"/>
                  </a:cubicBezTo>
                </a:path>
              </a:pathLst>
            </a:custGeom>
            <a:solidFill>
              <a:srgbClr val="0070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55" name="Freeform 32">
              <a:extLst>
                <a:ext uri="{FF2B5EF4-FFF2-40B4-BE49-F238E27FC236}">
                  <a16:creationId xmlns="" xmlns:a16="http://schemas.microsoft.com/office/drawing/2014/main" id="{1FC3183B-3D37-4918-B988-587DB0818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" y="672"/>
              <a:ext cx="870" cy="1045"/>
            </a:xfrm>
            <a:custGeom>
              <a:avLst/>
              <a:gdLst>
                <a:gd name="T0" fmla="*/ 71 w 326"/>
                <a:gd name="T1" fmla="*/ 391 h 391"/>
                <a:gd name="T2" fmla="*/ 1 w 326"/>
                <a:gd name="T3" fmla="*/ 390 h 391"/>
                <a:gd name="T4" fmla="*/ 0 w 326"/>
                <a:gd name="T5" fmla="*/ 172 h 391"/>
                <a:gd name="T6" fmla="*/ 95 w 326"/>
                <a:gd name="T7" fmla="*/ 13 h 391"/>
                <a:gd name="T8" fmla="*/ 223 w 326"/>
                <a:gd name="T9" fmla="*/ 8 h 391"/>
                <a:gd name="T10" fmla="*/ 326 w 326"/>
                <a:gd name="T11" fmla="*/ 164 h 391"/>
                <a:gd name="T12" fmla="*/ 326 w 326"/>
                <a:gd name="T13" fmla="*/ 385 h 391"/>
                <a:gd name="T14" fmla="*/ 263 w 326"/>
                <a:gd name="T15" fmla="*/ 385 h 391"/>
                <a:gd name="T16" fmla="*/ 263 w 326"/>
                <a:gd name="T17" fmla="*/ 164 h 391"/>
                <a:gd name="T18" fmla="*/ 210 w 326"/>
                <a:gd name="T19" fmla="*/ 78 h 391"/>
                <a:gd name="T20" fmla="*/ 117 w 326"/>
                <a:gd name="T21" fmla="*/ 80 h 391"/>
                <a:gd name="T22" fmla="*/ 71 w 326"/>
                <a:gd name="T23" fmla="*/ 172 h 391"/>
                <a:gd name="T24" fmla="*/ 71 w 326"/>
                <a:gd name="T25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6" h="391">
                  <a:moveTo>
                    <a:pt x="71" y="391"/>
                  </a:moveTo>
                  <a:cubicBezTo>
                    <a:pt x="1" y="390"/>
                    <a:pt x="1" y="390"/>
                    <a:pt x="1" y="390"/>
                  </a:cubicBezTo>
                  <a:cubicBezTo>
                    <a:pt x="2" y="324"/>
                    <a:pt x="0" y="174"/>
                    <a:pt x="0" y="172"/>
                  </a:cubicBezTo>
                  <a:cubicBezTo>
                    <a:pt x="0" y="140"/>
                    <a:pt x="0" y="43"/>
                    <a:pt x="95" y="13"/>
                  </a:cubicBezTo>
                  <a:cubicBezTo>
                    <a:pt x="132" y="1"/>
                    <a:pt x="176" y="0"/>
                    <a:pt x="223" y="8"/>
                  </a:cubicBezTo>
                  <a:cubicBezTo>
                    <a:pt x="289" y="20"/>
                    <a:pt x="326" y="77"/>
                    <a:pt x="326" y="164"/>
                  </a:cubicBezTo>
                  <a:cubicBezTo>
                    <a:pt x="326" y="385"/>
                    <a:pt x="326" y="385"/>
                    <a:pt x="326" y="385"/>
                  </a:cubicBezTo>
                  <a:cubicBezTo>
                    <a:pt x="263" y="385"/>
                    <a:pt x="263" y="385"/>
                    <a:pt x="263" y="385"/>
                  </a:cubicBezTo>
                  <a:cubicBezTo>
                    <a:pt x="263" y="164"/>
                    <a:pt x="263" y="164"/>
                    <a:pt x="263" y="164"/>
                  </a:cubicBezTo>
                  <a:cubicBezTo>
                    <a:pt x="263" y="112"/>
                    <a:pt x="240" y="86"/>
                    <a:pt x="210" y="78"/>
                  </a:cubicBezTo>
                  <a:cubicBezTo>
                    <a:pt x="176" y="69"/>
                    <a:pt x="142" y="73"/>
                    <a:pt x="117" y="80"/>
                  </a:cubicBezTo>
                  <a:cubicBezTo>
                    <a:pt x="89" y="89"/>
                    <a:pt x="71" y="108"/>
                    <a:pt x="71" y="172"/>
                  </a:cubicBezTo>
                  <a:cubicBezTo>
                    <a:pt x="71" y="178"/>
                    <a:pt x="73" y="325"/>
                    <a:pt x="71" y="391"/>
                  </a:cubicBezTo>
                </a:path>
              </a:pathLst>
            </a:custGeom>
            <a:solidFill>
              <a:srgbClr val="12A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56" name="Freeform 33">
              <a:extLst>
                <a:ext uri="{FF2B5EF4-FFF2-40B4-BE49-F238E27FC236}">
                  <a16:creationId xmlns="" xmlns:a16="http://schemas.microsoft.com/office/drawing/2014/main" id="{60B2EC65-C3A7-4817-8A23-98C56EE0B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" y="1429"/>
              <a:ext cx="1408" cy="927"/>
            </a:xfrm>
            <a:custGeom>
              <a:avLst/>
              <a:gdLst>
                <a:gd name="T0" fmla="*/ 98 w 527"/>
                <a:gd name="T1" fmla="*/ 344 h 347"/>
                <a:gd name="T2" fmla="*/ 433 w 527"/>
                <a:gd name="T3" fmla="*/ 344 h 347"/>
                <a:gd name="T4" fmla="*/ 524 w 527"/>
                <a:gd name="T5" fmla="*/ 231 h 347"/>
                <a:gd name="T6" fmla="*/ 524 w 527"/>
                <a:gd name="T7" fmla="*/ 12 h 347"/>
                <a:gd name="T8" fmla="*/ 97 w 527"/>
                <a:gd name="T9" fmla="*/ 7 h 347"/>
                <a:gd name="T10" fmla="*/ 0 w 527"/>
                <a:gd name="T11" fmla="*/ 121 h 347"/>
                <a:gd name="T12" fmla="*/ 1 w 527"/>
                <a:gd name="T13" fmla="*/ 258 h 347"/>
                <a:gd name="T14" fmla="*/ 98 w 527"/>
                <a:gd name="T15" fmla="*/ 344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7" h="347">
                  <a:moveTo>
                    <a:pt x="98" y="344"/>
                  </a:moveTo>
                  <a:cubicBezTo>
                    <a:pt x="154" y="347"/>
                    <a:pt x="392" y="347"/>
                    <a:pt x="433" y="344"/>
                  </a:cubicBezTo>
                  <a:cubicBezTo>
                    <a:pt x="507" y="337"/>
                    <a:pt x="527" y="325"/>
                    <a:pt x="524" y="231"/>
                  </a:cubicBezTo>
                  <a:cubicBezTo>
                    <a:pt x="524" y="231"/>
                    <a:pt x="524" y="98"/>
                    <a:pt x="524" y="12"/>
                  </a:cubicBezTo>
                  <a:cubicBezTo>
                    <a:pt x="399" y="5"/>
                    <a:pt x="172" y="0"/>
                    <a:pt x="97" y="7"/>
                  </a:cubicBezTo>
                  <a:cubicBezTo>
                    <a:pt x="29" y="13"/>
                    <a:pt x="0" y="31"/>
                    <a:pt x="0" y="121"/>
                  </a:cubicBezTo>
                  <a:cubicBezTo>
                    <a:pt x="1" y="258"/>
                    <a:pt x="1" y="258"/>
                    <a:pt x="1" y="258"/>
                  </a:cubicBezTo>
                  <a:cubicBezTo>
                    <a:pt x="1" y="326"/>
                    <a:pt x="23" y="341"/>
                    <a:pt x="98" y="34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57" name="Freeform 34">
              <a:extLst>
                <a:ext uri="{FF2B5EF4-FFF2-40B4-BE49-F238E27FC236}">
                  <a16:creationId xmlns="" xmlns:a16="http://schemas.microsoft.com/office/drawing/2014/main" id="{F5647D5F-1624-45A6-9026-45C5850745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9" y="1621"/>
              <a:ext cx="270" cy="292"/>
            </a:xfrm>
            <a:custGeom>
              <a:avLst/>
              <a:gdLst>
                <a:gd name="T0" fmla="*/ 54 w 101"/>
                <a:gd name="T1" fmla="*/ 107 h 109"/>
                <a:gd name="T2" fmla="*/ 101 w 101"/>
                <a:gd name="T3" fmla="*/ 51 h 109"/>
                <a:gd name="T4" fmla="*/ 51 w 101"/>
                <a:gd name="T5" fmla="*/ 2 h 109"/>
                <a:gd name="T6" fmla="*/ 1 w 101"/>
                <a:gd name="T7" fmla="*/ 58 h 109"/>
                <a:gd name="T8" fmla="*/ 54 w 101"/>
                <a:gd name="T9" fmla="*/ 10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9">
                  <a:moveTo>
                    <a:pt x="54" y="107"/>
                  </a:moveTo>
                  <a:cubicBezTo>
                    <a:pt x="82" y="105"/>
                    <a:pt x="101" y="80"/>
                    <a:pt x="101" y="51"/>
                  </a:cubicBezTo>
                  <a:cubicBezTo>
                    <a:pt x="100" y="22"/>
                    <a:pt x="79" y="0"/>
                    <a:pt x="51" y="2"/>
                  </a:cubicBezTo>
                  <a:cubicBezTo>
                    <a:pt x="22" y="3"/>
                    <a:pt x="0" y="29"/>
                    <a:pt x="1" y="58"/>
                  </a:cubicBezTo>
                  <a:cubicBezTo>
                    <a:pt x="2" y="87"/>
                    <a:pt x="25" y="109"/>
                    <a:pt x="54" y="107"/>
                  </a:cubicBezTo>
                </a:path>
              </a:pathLst>
            </a:custGeom>
            <a:solidFill>
              <a:srgbClr val="95E6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58" name="Freeform 35">
              <a:extLst>
                <a:ext uri="{FF2B5EF4-FFF2-40B4-BE49-F238E27FC236}">
                  <a16:creationId xmlns="" xmlns:a16="http://schemas.microsoft.com/office/drawing/2014/main" id="{D9B26BBE-192F-4737-BE52-038A7B32D8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5" y="1878"/>
              <a:ext cx="238" cy="273"/>
            </a:xfrm>
            <a:custGeom>
              <a:avLst/>
              <a:gdLst>
                <a:gd name="T0" fmla="*/ 67 w 238"/>
                <a:gd name="T1" fmla="*/ 0 h 273"/>
                <a:gd name="T2" fmla="*/ 0 w 238"/>
                <a:gd name="T3" fmla="*/ 273 h 273"/>
                <a:gd name="T4" fmla="*/ 238 w 238"/>
                <a:gd name="T5" fmla="*/ 273 h 273"/>
                <a:gd name="T6" fmla="*/ 165 w 238"/>
                <a:gd name="T7" fmla="*/ 0 h 273"/>
                <a:gd name="T8" fmla="*/ 67 w 238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" h="273">
                  <a:moveTo>
                    <a:pt x="67" y="0"/>
                  </a:moveTo>
                  <a:lnTo>
                    <a:pt x="0" y="273"/>
                  </a:lnTo>
                  <a:lnTo>
                    <a:pt x="238" y="273"/>
                  </a:lnTo>
                  <a:lnTo>
                    <a:pt x="165" y="0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</p:grpSp>
      <p:sp>
        <p:nvSpPr>
          <p:cNvPr id="65" name="Text Placeholder 9">
            <a:extLst>
              <a:ext uri="{FF2B5EF4-FFF2-40B4-BE49-F238E27FC236}">
                <a16:creationId xmlns="" xmlns:a16="http://schemas.microsoft.com/office/drawing/2014/main" id="{7FB3716E-9382-4C5B-89D8-7D3D309649B1}"/>
              </a:ext>
            </a:extLst>
          </p:cNvPr>
          <p:cNvSpPr txBox="1">
            <a:spLocks/>
          </p:cNvSpPr>
          <p:nvPr/>
        </p:nvSpPr>
        <p:spPr>
          <a:xfrm>
            <a:off x="1671717" y="2935745"/>
            <a:ext cx="2890194" cy="645047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PT" b="1" i="0" u="none" strike="noStrike" kern="1200" cap="none" spc="0" normalizeH="0" baseline="0" noProof="0" dirty="0" smtClean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</a:t>
            </a:r>
            <a:endParaRPr kumimoji="0" lang="pt-PT" b="1" i="0" u="none" strike="noStrike" kern="1200" cap="none" spc="0" normalizeH="0" baseline="0" noProof="0" dirty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Text Placeholder 10">
            <a:extLst>
              <a:ext uri="{FF2B5EF4-FFF2-40B4-BE49-F238E27FC236}">
                <a16:creationId xmlns="" xmlns:a16="http://schemas.microsoft.com/office/drawing/2014/main" id="{E2F5E3C3-8C95-4F9C-8370-0A1C87237CA8}"/>
              </a:ext>
            </a:extLst>
          </p:cNvPr>
          <p:cNvSpPr txBox="1">
            <a:spLocks/>
          </p:cNvSpPr>
          <p:nvPr/>
        </p:nvSpPr>
        <p:spPr>
          <a:xfrm>
            <a:off x="1386420" y="3583354"/>
            <a:ext cx="2890193" cy="17112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1450" lvl="0" indent="-171450"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arnt about Azure PowerShell commands.</a:t>
            </a:r>
          </a:p>
          <a:p>
            <a:pPr marL="171450" lvl="0" indent="-171450"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lvl="0" indent="-171450"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arnt about Hyper-V PowerShell commands.</a:t>
            </a:r>
          </a:p>
          <a:p>
            <a:pPr marL="171450" lvl="0" indent="-171450"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lvl="0" indent="-171450"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arnt about modules in python.</a:t>
            </a:r>
            <a:endParaRPr lang="en-US" sz="140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7" name="Text Placeholder 9">
            <a:extLst>
              <a:ext uri="{FF2B5EF4-FFF2-40B4-BE49-F238E27FC236}">
                <a16:creationId xmlns="" xmlns:a16="http://schemas.microsoft.com/office/drawing/2014/main" id="{7FB3716E-9382-4C5B-89D8-7D3D309649B1}"/>
              </a:ext>
            </a:extLst>
          </p:cNvPr>
          <p:cNvSpPr txBox="1">
            <a:spLocks/>
          </p:cNvSpPr>
          <p:nvPr/>
        </p:nvSpPr>
        <p:spPr>
          <a:xfrm>
            <a:off x="7150682" y="2932152"/>
            <a:ext cx="2890194" cy="645047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b="1" dirty="0" smtClean="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sonal</a:t>
            </a:r>
            <a:endParaRPr kumimoji="0" lang="pt-PT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8" name="Text Placeholder 10">
            <a:extLst>
              <a:ext uri="{FF2B5EF4-FFF2-40B4-BE49-F238E27FC236}">
                <a16:creationId xmlns="" xmlns:a16="http://schemas.microsoft.com/office/drawing/2014/main" id="{E2F5E3C3-8C95-4F9C-8370-0A1C87237CA8}"/>
              </a:ext>
            </a:extLst>
          </p:cNvPr>
          <p:cNvSpPr txBox="1">
            <a:spLocks/>
          </p:cNvSpPr>
          <p:nvPr/>
        </p:nvSpPr>
        <p:spPr>
          <a:xfrm>
            <a:off x="6963477" y="3583354"/>
            <a:ext cx="2890193" cy="17112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1450" lvl="0" indent="-171450"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me management.</a:t>
            </a:r>
            <a:endParaRPr lang="en-US" sz="140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lvl="0" indent="-171450"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ssure handling.</a:t>
            </a:r>
            <a:endParaRPr lang="en-US" sz="140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lvl="0" indent="-171450"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munication with client.</a:t>
            </a:r>
            <a:endParaRPr lang="en-US" sz="140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lvl="0" indent="-171450"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anning of tasks.</a:t>
            </a:r>
          </a:p>
          <a:p>
            <a:pPr marL="171450" lvl="0" indent="-171450"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cument formation.</a:t>
            </a:r>
          </a:p>
          <a:p>
            <a:pPr marL="171450" lvl="0" indent="-171450"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intain positive behavior.</a:t>
            </a:r>
          </a:p>
          <a:p>
            <a:pPr marL="171450" lvl="0" indent="-171450"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ad requests properly.</a:t>
            </a:r>
          </a:p>
        </p:txBody>
      </p:sp>
    </p:spTree>
    <p:extLst>
      <p:ext uri="{BB962C8B-B14F-4D97-AF65-F5344CB8AC3E}">
        <p14:creationId xmlns:p14="http://schemas.microsoft.com/office/powerpoint/2010/main" val="18034885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92000" y="59186"/>
            <a:ext cx="11125236" cy="1104900"/>
          </a:xfrm>
        </p:spPr>
        <p:txBody>
          <a:bodyPr/>
          <a:lstStyle/>
          <a:p>
            <a:r>
              <a:rPr lang="en-US" dirty="0" smtClean="0"/>
              <a:t>Setup and Documentation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4294967295"/>
          </p:nvPr>
        </p:nvSpPr>
        <p:spPr>
          <a:xfrm>
            <a:off x="2390204" y="1061811"/>
            <a:ext cx="1089025" cy="503237"/>
          </a:xfrm>
        </p:spPr>
        <p:txBody>
          <a:bodyPr anchor="ctr">
            <a:normAutofit fontScale="92500"/>
          </a:bodyPr>
          <a:lstStyle/>
          <a:p>
            <a:pPr algn="ctr"/>
            <a:r>
              <a:rPr lang="en-GB" sz="2400" b="1" dirty="0" smtClean="0"/>
              <a:t>SETUP</a:t>
            </a:r>
            <a:endParaRPr lang="en-GB" sz="2400" b="1" dirty="0"/>
          </a:p>
        </p:txBody>
      </p:sp>
      <p:sp>
        <p:nvSpPr>
          <p:cNvPr id="6" name="Rectangle: Rounded Corners 7">
            <a:extLst>
              <a:ext uri="{FF2B5EF4-FFF2-40B4-BE49-F238E27FC236}">
                <a16:creationId xmlns="" xmlns:a16="http://schemas.microsoft.com/office/drawing/2014/main" id="{138D5B75-435E-4E5B-BB10-0F50118C0ADB}"/>
              </a:ext>
            </a:extLst>
          </p:cNvPr>
          <p:cNvSpPr/>
          <p:nvPr/>
        </p:nvSpPr>
        <p:spPr>
          <a:xfrm>
            <a:off x="1816564" y="1790918"/>
            <a:ext cx="2952000" cy="720000"/>
          </a:xfrm>
          <a:prstGeom prst="roundRect">
            <a:avLst>
              <a:gd name="adj" fmla="val 33616"/>
            </a:avLst>
          </a:pr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7" name="Table Placeholder 4">
            <a:extLst>
              <a:ext uri="{FF2B5EF4-FFF2-40B4-BE49-F238E27FC236}">
                <a16:creationId xmlns="" xmlns:a16="http://schemas.microsoft.com/office/drawing/2014/main" id="{06023993-9078-470E-80B8-AF177564FB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0175422"/>
              </p:ext>
            </p:extLst>
          </p:nvPr>
        </p:nvGraphicFramePr>
        <p:xfrm>
          <a:off x="368764" y="1790918"/>
          <a:ext cx="4311364" cy="41510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1639">
                  <a:extLst>
                    <a:ext uri="{9D8B030D-6E8A-4147-A177-3AD203B41FA5}">
                      <a16:colId xmlns="" xmlns:a16="http://schemas.microsoft.com/office/drawing/2014/main" val="2607851620"/>
                    </a:ext>
                  </a:extLst>
                </a:gridCol>
                <a:gridCol w="1612911">
                  <a:extLst>
                    <a:ext uri="{9D8B030D-6E8A-4147-A177-3AD203B41FA5}">
                      <a16:colId xmlns="" xmlns:a16="http://schemas.microsoft.com/office/drawing/2014/main" val="1243403413"/>
                    </a:ext>
                  </a:extLst>
                </a:gridCol>
                <a:gridCol w="1256814">
                  <a:extLst>
                    <a:ext uri="{9D8B030D-6E8A-4147-A177-3AD203B41FA5}">
                      <a16:colId xmlns="" xmlns:a16="http://schemas.microsoft.com/office/drawing/2014/main" val="1389503925"/>
                    </a:ext>
                  </a:extLst>
                </a:gridCol>
              </a:tblGrid>
              <a:tr h="724840">
                <a:tc>
                  <a:txBody>
                    <a:bodyPr/>
                    <a:lstStyle/>
                    <a:p>
                      <a:pPr algn="ctr"/>
                      <a:endParaRPr lang="en-US" sz="1200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10322" marR="110322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HOST</a:t>
                      </a:r>
                      <a:br>
                        <a:rPr lang="en-US" sz="14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4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MACHINE</a:t>
                      </a:r>
                      <a:endParaRPr lang="en-US" sz="14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10322" marR="110322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VIRTUAL</a:t>
                      </a:r>
                      <a:br>
                        <a:rPr lang="en-US" sz="14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4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MACHINE</a:t>
                      </a:r>
                      <a:endParaRPr lang="en-US" sz="14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981481475"/>
                  </a:ext>
                </a:extLst>
              </a:tr>
              <a:tr h="587686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Hostname</a:t>
                      </a:r>
                      <a:endParaRPr lang="en-US" sz="12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3941" marR="11036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CR01-A20</a:t>
                      </a:r>
                      <a:endParaRPr lang="en-US" sz="1200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10322" marR="110322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TU-AD20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90348787"/>
                  </a:ext>
                </a:extLst>
              </a:tr>
              <a:tr h="587686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OS</a:t>
                      </a:r>
                      <a:endParaRPr lang="en-US" sz="12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3941" marR="11036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indows Server 2012R2 Datacenter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indows Server 2012R2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7E7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74772154"/>
                  </a:ext>
                </a:extLst>
              </a:tr>
              <a:tr h="562700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IP</a:t>
                      </a:r>
                      <a:endParaRPr lang="en-US" sz="12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3941" marR="11036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92.168.21.200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72.21.1.10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67503373"/>
                  </a:ext>
                </a:extLst>
              </a:tr>
              <a:tr h="562700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Hard Disk</a:t>
                      </a:r>
                      <a:endParaRPr lang="en-US" sz="12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3941" marR="11036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TB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GB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2700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RAM</a:t>
                      </a:r>
                      <a:endParaRPr lang="en-US" sz="12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3941" marR="11036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6GB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GB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2700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Applications/Critical Services</a:t>
                      </a:r>
                      <a:endParaRPr lang="en-US" sz="12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3941" marR="11036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lack, Chrome, Python, Microsoft Office 2013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DDS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466577" y="2556566"/>
            <a:ext cx="288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set Inventory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453461" y="3705050"/>
            <a:ext cx="288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rver Docket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5598157" y="1104900"/>
            <a:ext cx="14125" cy="50601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9"/>
          <p:cNvSpPr>
            <a:spLocks noGrp="1"/>
          </p:cNvSpPr>
          <p:nvPr>
            <p:ph type="body" sz="quarter" idx="4294967295"/>
          </p:nvPr>
        </p:nvSpPr>
        <p:spPr>
          <a:xfrm>
            <a:off x="7536000" y="1104900"/>
            <a:ext cx="2952000" cy="503237"/>
          </a:xfrm>
        </p:spPr>
        <p:txBody>
          <a:bodyPr anchor="ctr">
            <a:normAutofit fontScale="92500"/>
          </a:bodyPr>
          <a:lstStyle/>
          <a:p>
            <a:pPr algn="ctr"/>
            <a:r>
              <a:rPr lang="en-GB" sz="2400" b="1" dirty="0" smtClean="0"/>
              <a:t>DOCUMENTATION</a:t>
            </a:r>
            <a:endParaRPr lang="en-GB" sz="2400" b="1" dirty="0"/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09605531"/>
              </p:ext>
            </p:extLst>
          </p:nvPr>
        </p:nvGraphicFramePr>
        <p:xfrm>
          <a:off x="9580527" y="251091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16" name="Worksheet" showAsIcon="1" r:id="rId4" imgW="914400" imgH="771480" progId="Excel.Sheet.8">
                  <p:embed/>
                </p:oleObj>
              </mc:Choice>
              <mc:Fallback>
                <p:oleObj name="Worksheet" showAsIcon="1" r:id="rId4" imgW="914400" imgH="771480" progId="Excel.Shee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580527" y="251091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71714276"/>
              </p:ext>
            </p:extLst>
          </p:nvPr>
        </p:nvGraphicFramePr>
        <p:xfrm>
          <a:off x="9580527" y="363495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17" name="Worksheet" showAsIcon="1" r:id="rId6" imgW="914400" imgH="771480" progId="Excel.Sheet.12">
                  <p:embed/>
                </p:oleObj>
              </mc:Choice>
              <mc:Fallback>
                <p:oleObj name="Worksheet" showAsIcon="1" r:id="rId6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580527" y="363495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728485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92000" y="45000"/>
            <a:ext cx="11125236" cy="1104900"/>
          </a:xfrm>
        </p:spPr>
        <p:txBody>
          <a:bodyPr/>
          <a:lstStyle/>
          <a:p>
            <a:r>
              <a:rPr lang="en-US" dirty="0" smtClean="0"/>
              <a:t>Technical Performance</a:t>
            </a:r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5598157" y="1104900"/>
            <a:ext cx="14125" cy="50601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Chart Placeholder 19">
            <a:extLst>
              <a:ext uri="{FF2B5EF4-FFF2-40B4-BE49-F238E27FC236}">
                <a16:creationId xmlns="" xmlns:a16="http://schemas.microsoft.com/office/drawing/2014/main" id="{C2617C2C-E871-4571-BEA2-0FBBBC7AA28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1571995"/>
              </p:ext>
            </p:extLst>
          </p:nvPr>
        </p:nvGraphicFramePr>
        <p:xfrm>
          <a:off x="125707" y="1272726"/>
          <a:ext cx="5486575" cy="48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Rectangle: Rounded Corners 7">
            <a:extLst>
              <a:ext uri="{FF2B5EF4-FFF2-40B4-BE49-F238E27FC236}">
                <a16:creationId xmlns="" xmlns:a16="http://schemas.microsoft.com/office/drawing/2014/main" id="{138D5B75-435E-4E5B-BB10-0F50118C0ADB}"/>
              </a:ext>
            </a:extLst>
          </p:cNvPr>
          <p:cNvSpPr/>
          <p:nvPr/>
        </p:nvSpPr>
        <p:spPr>
          <a:xfrm>
            <a:off x="8184000" y="2421000"/>
            <a:ext cx="2903839" cy="720000"/>
          </a:xfrm>
          <a:prstGeom prst="roundRect">
            <a:avLst>
              <a:gd name="adj" fmla="val 33616"/>
            </a:avLst>
          </a:pr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3" name="Table Placeholder 4">
            <a:extLst>
              <a:ext uri="{FF2B5EF4-FFF2-40B4-BE49-F238E27FC236}">
                <a16:creationId xmlns="" xmlns:a16="http://schemas.microsoft.com/office/drawing/2014/main" id="{06023993-9078-470E-80B8-AF177564FB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3965932"/>
              </p:ext>
            </p:extLst>
          </p:nvPr>
        </p:nvGraphicFramePr>
        <p:xfrm>
          <a:off x="6872874" y="2421000"/>
          <a:ext cx="4184910" cy="24580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6325">
                  <a:extLst>
                    <a:ext uri="{9D8B030D-6E8A-4147-A177-3AD203B41FA5}">
                      <a16:colId xmlns="" xmlns:a16="http://schemas.microsoft.com/office/drawing/2014/main" val="2607851620"/>
                    </a:ext>
                  </a:extLst>
                </a:gridCol>
                <a:gridCol w="777757">
                  <a:extLst>
                    <a:ext uri="{9D8B030D-6E8A-4147-A177-3AD203B41FA5}">
                      <a16:colId xmlns="" xmlns:a16="http://schemas.microsoft.com/office/drawing/2014/main" val="1243403413"/>
                    </a:ext>
                  </a:extLst>
                </a:gridCol>
                <a:gridCol w="1166828">
                  <a:extLst>
                    <a:ext uri="{9D8B030D-6E8A-4147-A177-3AD203B41FA5}">
                      <a16:colId xmlns="" xmlns:a16="http://schemas.microsoft.com/office/drawing/2014/main" val="1389503925"/>
                    </a:ext>
                  </a:extLst>
                </a:gridCol>
                <a:gridCol w="864000"/>
              </a:tblGrid>
              <a:tr h="720000">
                <a:tc>
                  <a:txBody>
                    <a:bodyPr/>
                    <a:lstStyle/>
                    <a:p>
                      <a:pPr algn="ctr"/>
                      <a:endParaRPr lang="en-US" sz="1200" b="1" noProof="0" dirty="0">
                        <a:solidFill>
                          <a:srgbClr val="434343"/>
                        </a:solidFill>
                        <a:latin typeface="+mj-lt"/>
                      </a:endParaRPr>
                    </a:p>
                  </a:txBody>
                  <a:tcPr marL="183941" marR="11036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Max Marks</a:t>
                      </a:r>
                      <a:endParaRPr lang="en-US" sz="1200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10322" marR="110322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Marks</a:t>
                      </a:r>
                      <a:b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Obtained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No of Tickets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</a:tr>
              <a:tr h="587686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Azure</a:t>
                      </a:r>
                      <a:endParaRPr lang="en-US" sz="12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3941" marR="11036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180</a:t>
                      </a:r>
                      <a:endParaRPr lang="en-US" sz="12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10322" marR="110322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68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6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90348787"/>
                  </a:ext>
                </a:extLst>
              </a:tr>
              <a:tr h="587686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Python</a:t>
                      </a:r>
                      <a:endParaRPr lang="en-US" sz="12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3941" marR="11036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70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43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1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74772154"/>
                  </a:ext>
                </a:extLst>
              </a:tr>
              <a:tr h="562700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PowerShell</a:t>
                      </a:r>
                      <a:endParaRPr lang="en-US" sz="12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3941" marR="11036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390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314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5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675033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1460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64000" y="117000"/>
            <a:ext cx="11125236" cy="1104900"/>
          </a:xfrm>
        </p:spPr>
        <p:txBody>
          <a:bodyPr/>
          <a:lstStyle/>
          <a:p>
            <a:r>
              <a:rPr lang="en-US" dirty="0" smtClean="0"/>
              <a:t>SLA Performance</a:t>
            </a:r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5598157" y="1104900"/>
            <a:ext cx="14125" cy="50601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Chart Placeholder 19">
            <a:extLst>
              <a:ext uri="{FF2B5EF4-FFF2-40B4-BE49-F238E27FC236}">
                <a16:creationId xmlns="" xmlns:a16="http://schemas.microsoft.com/office/drawing/2014/main" id="{C2617C2C-E871-4571-BEA2-0FBBBC7AA28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5365717"/>
              </p:ext>
            </p:extLst>
          </p:nvPr>
        </p:nvGraphicFramePr>
        <p:xfrm>
          <a:off x="125707" y="1272726"/>
          <a:ext cx="5486575" cy="48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Rectangle: Rounded Corners 7">
            <a:extLst>
              <a:ext uri="{FF2B5EF4-FFF2-40B4-BE49-F238E27FC236}">
                <a16:creationId xmlns="" xmlns:a16="http://schemas.microsoft.com/office/drawing/2014/main" id="{138D5B75-435E-4E5B-BB10-0F50118C0ADB}"/>
              </a:ext>
            </a:extLst>
          </p:cNvPr>
          <p:cNvSpPr/>
          <p:nvPr/>
        </p:nvSpPr>
        <p:spPr>
          <a:xfrm>
            <a:off x="8184000" y="2421000"/>
            <a:ext cx="2903839" cy="720000"/>
          </a:xfrm>
          <a:prstGeom prst="roundRect">
            <a:avLst>
              <a:gd name="adj" fmla="val 33616"/>
            </a:avLst>
          </a:pr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3" name="Table Placeholder 4">
            <a:extLst>
              <a:ext uri="{FF2B5EF4-FFF2-40B4-BE49-F238E27FC236}">
                <a16:creationId xmlns="" xmlns:a16="http://schemas.microsoft.com/office/drawing/2014/main" id="{06023993-9078-470E-80B8-AF177564FB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0712791"/>
              </p:ext>
            </p:extLst>
          </p:nvPr>
        </p:nvGraphicFramePr>
        <p:xfrm>
          <a:off x="6872874" y="2421000"/>
          <a:ext cx="4184910" cy="24580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6325">
                  <a:extLst>
                    <a:ext uri="{9D8B030D-6E8A-4147-A177-3AD203B41FA5}">
                      <a16:colId xmlns="" xmlns:a16="http://schemas.microsoft.com/office/drawing/2014/main" val="2607851620"/>
                    </a:ext>
                  </a:extLst>
                </a:gridCol>
                <a:gridCol w="777757">
                  <a:extLst>
                    <a:ext uri="{9D8B030D-6E8A-4147-A177-3AD203B41FA5}">
                      <a16:colId xmlns="" xmlns:a16="http://schemas.microsoft.com/office/drawing/2014/main" val="1243403413"/>
                    </a:ext>
                  </a:extLst>
                </a:gridCol>
                <a:gridCol w="1166828">
                  <a:extLst>
                    <a:ext uri="{9D8B030D-6E8A-4147-A177-3AD203B41FA5}">
                      <a16:colId xmlns="" xmlns:a16="http://schemas.microsoft.com/office/drawing/2014/main" val="1389503925"/>
                    </a:ext>
                  </a:extLst>
                </a:gridCol>
                <a:gridCol w="864000"/>
              </a:tblGrid>
              <a:tr h="720000">
                <a:tc>
                  <a:txBody>
                    <a:bodyPr/>
                    <a:lstStyle/>
                    <a:p>
                      <a:pPr algn="ctr"/>
                      <a:endParaRPr lang="en-US" sz="1200" b="1" noProof="0" dirty="0">
                        <a:solidFill>
                          <a:srgbClr val="434343"/>
                        </a:solidFill>
                        <a:latin typeface="+mj-lt"/>
                      </a:endParaRPr>
                    </a:p>
                  </a:txBody>
                  <a:tcPr marL="183941" marR="11036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Met</a:t>
                      </a:r>
                      <a:br>
                        <a:rPr lang="en-US" sz="1200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200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SLA</a:t>
                      </a:r>
                      <a:endParaRPr lang="en-US" sz="1200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10322" marR="110322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Breached</a:t>
                      </a:r>
                      <a:b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LA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otal</a:t>
                      </a:r>
                      <a:b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LA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</a:tr>
              <a:tr h="587686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Azure</a:t>
                      </a:r>
                      <a:endParaRPr lang="en-US" sz="12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3941" marR="11036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6</a:t>
                      </a:r>
                      <a:endParaRPr lang="en-US" sz="12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10322" marR="110322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0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6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90348787"/>
                  </a:ext>
                </a:extLst>
              </a:tr>
              <a:tr h="587686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Python</a:t>
                      </a:r>
                      <a:endParaRPr lang="en-US" sz="12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3941" marR="11036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8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1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74772154"/>
                  </a:ext>
                </a:extLst>
              </a:tr>
              <a:tr h="562700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PowerShell</a:t>
                      </a:r>
                      <a:endParaRPr lang="en-US" sz="12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3941" marR="11036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8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7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5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0322" marR="11032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5F5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675033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90227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4000" y="100221"/>
            <a:ext cx="11125236" cy="1104900"/>
          </a:xfrm>
        </p:spPr>
        <p:txBody>
          <a:bodyPr/>
          <a:lstStyle/>
          <a:p>
            <a:r>
              <a:rPr lang="en-US" dirty="0" smtClean="0"/>
              <a:t>Highlights</a:t>
            </a:r>
            <a:endParaRPr lang="en-US" dirty="0"/>
          </a:p>
        </p:txBody>
      </p:sp>
      <p:pic>
        <p:nvPicPr>
          <p:cNvPr id="10" name="Picture 9"/>
          <p:cNvPicPr/>
          <p:nvPr/>
        </p:nvPicPr>
        <p:blipFill rotWithShape="1">
          <a:blip r:embed="rId2"/>
          <a:srcRect l="15544" t="64103" r="56411" b="17436"/>
          <a:stretch/>
        </p:blipFill>
        <p:spPr bwMode="auto">
          <a:xfrm>
            <a:off x="1200000" y="2602120"/>
            <a:ext cx="3672000" cy="169087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984000" y="1777895"/>
            <a:ext cx="37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Got appreciation from the client.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984000" y="4581000"/>
            <a:ext cx="374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Learnt a new concept and resolved a ticket within half the SLA time.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064000" y="1188190"/>
            <a:ext cx="129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SELF</a:t>
            </a:r>
            <a:endParaRPr lang="en-US" sz="20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8184000" y="1186041"/>
            <a:ext cx="2088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SIMLAB</a:t>
            </a:r>
            <a:endParaRPr lang="en-US" sz="20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7464000" y="1777894"/>
            <a:ext cx="37440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Good time manage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Good technical Skil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Vast knowledge of the </a:t>
            </a:r>
            <a:r>
              <a:rPr lang="en-US" dirty="0"/>
              <a:t>c</a:t>
            </a:r>
            <a:r>
              <a:rPr lang="en-US" dirty="0" smtClean="0"/>
              <a:t>oncep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7427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117000"/>
            <a:ext cx="11125236" cy="1104900"/>
          </a:xfrm>
        </p:spPr>
        <p:txBody>
          <a:bodyPr/>
          <a:lstStyle/>
          <a:p>
            <a:r>
              <a:rPr lang="en-US" dirty="0" smtClean="0"/>
              <a:t>Areas of Improvemen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821967" y="2133000"/>
            <a:ext cx="49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ime manage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009967" y="1277340"/>
            <a:ext cx="129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SELF</a:t>
            </a:r>
            <a:endParaRPr lang="en-US" sz="20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7608000" y="1238455"/>
            <a:ext cx="2088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SIMLAB</a:t>
            </a:r>
            <a:endParaRPr lang="en-US" sz="20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6744000" y="2126745"/>
            <a:ext cx="49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ore positive environment could be kept.</a:t>
            </a:r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742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40824"/>
            <a:ext cx="11125236" cy="1104900"/>
          </a:xfrm>
        </p:spPr>
        <p:txBody>
          <a:bodyPr/>
          <a:lstStyle/>
          <a:p>
            <a:r>
              <a:rPr lang="en-US" dirty="0" smtClean="0"/>
              <a:t>Self Rating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00585" y="1053695"/>
            <a:ext cx="4968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I rate myself as </a:t>
            </a:r>
            <a:r>
              <a:rPr lang="en-US" sz="2000" b="1" dirty="0" smtClean="0"/>
              <a:t>2</a:t>
            </a:r>
            <a:r>
              <a:rPr lang="en-US" sz="2000" dirty="0" smtClean="0"/>
              <a:t> out of </a:t>
            </a:r>
            <a:r>
              <a:rPr lang="en-US" sz="2000" b="1" dirty="0" smtClean="0"/>
              <a:t>5</a:t>
            </a:r>
            <a:r>
              <a:rPr lang="en-US" sz="2000" dirty="0" smtClean="0"/>
              <a:t>.</a:t>
            </a: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20830" t="23932" r="2914" b="4645"/>
          <a:stretch/>
        </p:blipFill>
        <p:spPr>
          <a:xfrm>
            <a:off x="2784585" y="1917000"/>
            <a:ext cx="8568000" cy="414973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l="30052" t="27323" r="60499" b="65958"/>
          <a:stretch/>
        </p:blipFill>
        <p:spPr>
          <a:xfrm>
            <a:off x="348702" y="1607274"/>
            <a:ext cx="2003298" cy="89035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32790" t="34831" r="63796" b="13387"/>
          <a:stretch/>
        </p:blipFill>
        <p:spPr>
          <a:xfrm>
            <a:off x="348702" y="2377439"/>
            <a:ext cx="561507" cy="3774758"/>
          </a:xfrm>
          <a:prstGeom prst="rect">
            <a:avLst/>
          </a:prstGeom>
        </p:spPr>
      </p:pic>
      <p:cxnSp>
        <p:nvCxnSpPr>
          <p:cNvPr id="11" name="Straight Arrow Connector 10"/>
          <p:cNvCxnSpPr/>
          <p:nvPr/>
        </p:nvCxnSpPr>
        <p:spPr>
          <a:xfrm flipH="1">
            <a:off x="910209" y="3213000"/>
            <a:ext cx="338579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7029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2ABDB"/>
        </a:solidFill>
        <a:ln>
          <a:noFill/>
        </a:ln>
      </a:spPr>
      <a:bodyPr rtlCol="0" anchor="ctr"/>
      <a:lstStyle>
        <a:defPPr marL="0" marR="0" indent="0" algn="ctr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1200" cap="none" spc="0" normalizeH="0" baseline="0" noProof="0">
            <a:ln>
              <a:noFill/>
            </a:ln>
            <a:solidFill>
              <a:srgbClr val="FFFFFF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-template.potx" id="{18FE7168-D87E-42AB-B386-4F7E19B889AB}" vid="{1E53BF59-8A3C-4B78-911D-5EA861346572}"/>
    </a:ext>
  </a:extLst>
</a:theme>
</file>

<file path=ppt/theme/theme2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BBB9F49C-7C56-443B-8448-8AD796982054}"/>
    </a:ext>
  </a:extLst>
</a:theme>
</file>

<file path=ppt/theme/theme3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13</TotalTime>
  <Words>251</Words>
  <Application>Microsoft Office PowerPoint</Application>
  <PresentationFormat>Widescreen</PresentationFormat>
  <Paragraphs>123</Paragraphs>
  <Slides>1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Verdana</vt:lpstr>
      <vt:lpstr>Wingdings</vt:lpstr>
      <vt:lpstr>Capgemini Master</vt:lpstr>
      <vt:lpstr>Title Slide</vt:lpstr>
      <vt:lpstr>think-cell Slide</vt:lpstr>
      <vt:lpstr>Microsoft Excel 97-2003 Worksheet</vt:lpstr>
      <vt:lpstr>Microsoft Excel Worksheet</vt:lpstr>
      <vt:lpstr>Management Information System</vt:lpstr>
      <vt:lpstr>PowerPoint Presentation</vt:lpstr>
      <vt:lpstr>Lab Learning</vt:lpstr>
      <vt:lpstr>Setup and Documentation</vt:lpstr>
      <vt:lpstr>Technical Performance</vt:lpstr>
      <vt:lpstr>SLA Performance</vt:lpstr>
      <vt:lpstr>Highlights</vt:lpstr>
      <vt:lpstr>Areas of Improvement</vt:lpstr>
      <vt:lpstr>Self Rating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Capgemini</dc:creator>
  <cp:lastModifiedBy>Windows User</cp:lastModifiedBy>
  <cp:revision>139</cp:revision>
  <dcterms:created xsi:type="dcterms:W3CDTF">2017-11-02T14:01:05Z</dcterms:created>
  <dcterms:modified xsi:type="dcterms:W3CDTF">2020-02-06T12:47:04Z</dcterms:modified>
</cp:coreProperties>
</file>